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1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4" r:id="rId4"/>
    <p:sldMasterId id="2147483660" r:id="rId5"/>
  </p:sldMasterIdLst>
  <p:notesMasterIdLst>
    <p:notesMasterId r:id="rId13"/>
  </p:notesMasterIdLst>
  <p:handoutMasterIdLst>
    <p:handoutMasterId r:id="rId14"/>
  </p:handoutMasterIdLst>
  <p:sldIdLst>
    <p:sldId id="260" r:id="rId6"/>
    <p:sldId id="1030" r:id="rId7"/>
    <p:sldId id="1026" r:id="rId8"/>
    <p:sldId id="265" r:id="rId9"/>
    <p:sldId id="1038" r:id="rId10"/>
    <p:sldId id="1021" r:id="rId11"/>
    <p:sldId id="1035" r:id="rId12"/>
  </p:sldIdLst>
  <p:sldSz cx="12192000" cy="6858000"/>
  <p:notesSz cx="9926638" cy="6797675"/>
  <p:custDataLst>
    <p:tags r:id="rId15"/>
  </p:custDataLst>
  <p:defaultTextStyle>
    <a:defPPr>
      <a:defRPr lang="en-US"/>
    </a:defPPr>
    <a:lvl1pPr marL="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56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132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697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263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2829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395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599960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526" algn="l" defTabSz="228566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850E6690-1453-4F31-B138-36362B5E0EE8}">
          <p14:sldIdLst>
            <p14:sldId id="260"/>
            <p14:sldId id="1030"/>
            <p14:sldId id="1026"/>
            <p14:sldId id="265"/>
            <p14:sldId id="1038"/>
            <p14:sldId id="1021"/>
            <p14:sldId id="103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8DED7"/>
    <a:srgbClr val="A9BFE4"/>
    <a:srgbClr val="FFFFFF"/>
    <a:srgbClr val="FF0000"/>
    <a:srgbClr val="F9CFE3"/>
    <a:srgbClr val="FFEFC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0D89DDA-32C7-4BCF-9FDB-702E0E0A3485}" v="1705" dt="2023-06-20T08:37:10.286"/>
  </p1510:revLst>
</p1510:revInfo>
</file>

<file path=ppt/tableStyles.xml><?xml version="1.0" encoding="utf-8"?>
<a:tblStyleLst xmlns:a="http://schemas.openxmlformats.org/drawingml/2006/main" def="{70D8911E-536D-4A76-A0AE-DD22124D55A5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Temastil 1 – utheving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70D8911E-536D-4A76-A0AE-DD22124D55A5}" styleName="Virke - Tabell 1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DBEEEB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12700" cmpd="sng">
              <a:solidFill>
                <a:srgbClr val="000000"/>
              </a:solidFill>
            </a:ln>
          </a:left>
          <a:right>
            <a:ln w="1270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12700" cmpd="sng">
              <a:solidFill>
                <a:srgbClr val="000000"/>
              </a:solidFill>
            </a:ln>
          </a:left>
          <a:right>
            <a:ln w="1270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1270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3D357D"/>
          </a:solidFill>
        </a:fill>
      </a:tcStyle>
    </a:firstRow>
  </a:tblStyle>
  <a:tblStyle styleId="{5D78BCEE-8045-49FB-9F6A-1AE51C4C7ADB}" styleName="Virke - Tabell 2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Style>
        <a:tcBdr/>
      </a:tcStyle>
    </a:lastCol>
    <a:firstCol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3D357D"/>
          </a:solidFill>
        </a:fill>
      </a:tcStyle>
    </a:firstRow>
  </a:tblStyle>
  <a:tblStyle styleId="{49B910FD-70F5-414C-948A-135EA5CDF89A}" styleName="Virke - Tabell 3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C9007F"/>
          </a:solidFill>
        </a:fill>
      </a:tcStyle>
    </a:firstRow>
  </a:tblStyle>
  <a:tblStyle styleId="{FEDAE28D-4C34-46A2-A0CA-3D35857275B8}" styleName="Virke - Tabell 4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FFEFC3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C9007F"/>
          </a:solidFill>
        </a:fill>
      </a:tcStyle>
    </a:firstRow>
  </a:tblStyle>
  <a:tblStyle styleId="{380A1B4E-3865-4E5F-8224-34D53C81559F}" styleName="Virke - Tabell 1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B8DED7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00544F"/>
          </a:solidFill>
        </a:fill>
      </a:tcStyle>
    </a:firstRow>
  </a:tblStyle>
  <a:tblStyle styleId="{8E805AD6-EF24-45C2-8C58-D876BD0BF57D}" styleName="Virke - Tabell 3 Hvit siste rad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F4AACC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ff"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000000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FFFFFF"/>
          </a:solidFill>
        </a:fill>
      </a:tcStyle>
    </a:lastRow>
    <a:firstRow>
      <a:tcTxStyle b="off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000000"/>
              </a:solidFill>
            </a:ln>
          </a:left>
          <a:right>
            <a:ln w="6350" cmpd="sng">
              <a:solidFill>
                <a:srgbClr val="000000"/>
              </a:solidFill>
            </a:ln>
          </a:right>
          <a:top>
            <a:ln w="6350" cmpd="sng">
              <a:solidFill>
                <a:srgbClr val="000000"/>
              </a:solidFill>
            </a:ln>
          </a:top>
          <a:bottom>
            <a:ln w="6350" cmpd="sng">
              <a:solidFill>
                <a:srgbClr val="000000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000000"/>
              </a:solidFill>
            </a:ln>
          </a:insideV>
        </a:tcBdr>
        <a:fill>
          <a:solidFill>
            <a:srgbClr val="3D357D"/>
          </a:solidFill>
        </a:fill>
      </a:tcStyle>
    </a:firstRow>
  </a:tblStyle>
  <a:tblStyle styleId="{3FE5AE2C-E827-49D5-A452-DDB484CA5F9B}" styleName="Virke - Tabell 1 lyseblå og gul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A9BFE4"/>
          </a:solidFill>
        </a:fill>
      </a:tcStyle>
    </a:band1H>
    <a:band2H>
      <a:tcStyle>
        <a:tcBdr/>
        <a:fill>
          <a:solidFill>
            <a:srgbClr val="FFEFC3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D6E59547-E8AE-4FF6-B09E-EABC10A920CF}" styleName="Virke - Tabell 1 grønn og lyseblå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B8DED7"/>
          </a:solidFill>
        </a:fill>
      </a:tcStyle>
    </a:band1H>
    <a:band2H>
      <a:tcStyle>
        <a:tcBdr/>
        <a:fill>
          <a:solidFill>
            <a:srgbClr val="A9BFE4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5CA78FEB-AA59-44F0-92D8-9AEF852FF67E}" styleName="Virke - Tabell 2 lyseblå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A9BFE4"/>
          </a:solidFill>
        </a:fill>
      </a:tcStyle>
    </a:band1H>
    <a:band2H>
      <a:tcStyle>
        <a:tcBdr/>
        <a:fill>
          <a:solidFill>
            <a:srgbClr val="DBEEEB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516EB860-758C-4091-886A-AFDDF5BCCFA5}" styleName="Virke - Tabell 2 lyserosa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00544F"/>
          </a:solidFill>
        </a:fill>
      </a:tcStyle>
    </a:lastRow>
  </a:tblStyle>
  <a:tblStyle styleId="{CCCCADAB-0E17-4484-80FD-22C6A0350A1D}" styleName="Virke - Tabell 3 rosa og lyserosa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4AACC"/>
          </a:solidFill>
        </a:fill>
      </a:tcStyle>
    </a:band1H>
    <a:band2H>
      <a:tcStyle>
        <a:tcBdr/>
        <a:fill>
          <a:solidFill>
            <a:srgbClr val="FCE7F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C9007F"/>
          </a:solidFill>
        </a:fill>
      </a:tcStyle>
    </a:lastRow>
  </a:tblStyle>
  <a:tblStyle styleId="{33F511A9-3182-4A71-A958-3D8D549C4847}" styleName="Virke - Tabell 3 blå og lyserosa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A9BFE4"/>
          </a:solidFill>
        </a:fill>
      </a:tcStyle>
    </a:band1H>
    <a:band2H>
      <a:tcStyle>
        <a:tcBdr/>
        <a:fill>
          <a:solidFill>
            <a:srgbClr val="FCE7F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3D357D"/>
          </a:solidFill>
        </a:fill>
      </a:tcStyle>
    </a:lastRow>
  </a:tblStyle>
  <a:tblStyle styleId="{15703786-D4A6-416F-83EC-D11436439CE5}" styleName="Virke - Tabell 4 gul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FEFC3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00544F"/>
          </a:solidFill>
        </a:fill>
      </a:tcStyle>
    </a:lastRow>
  </a:tblStyle>
  <a:tblStyle styleId="{C5733E33-97D8-48EE-A6C5-7FD0450BF5B6}" styleName="Virke - Tabell 4 gul og grønn">
    <a:wholeTbl>
      <a:tcTxStyle>
        <a:fontRef idx="minor">
          <a:prstClr val="black"/>
        </a:fontRef>
        <a:srgbClr val="000000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E1F3FA"/>
          </a:solidFill>
        </a:fill>
      </a:tcStyle>
    </a:wholeTbl>
    <a:band1H>
      <a:tcStyle>
        <a:tcBdr/>
        <a:fill>
          <a:solidFill>
            <a:srgbClr val="FCE7F1"/>
          </a:solidFill>
        </a:fill>
      </a:tcStyle>
    </a:band1H>
    <a:band2H>
      <a:tcStyle>
        <a:tcBdr/>
        <a:fill>
          <a:solidFill>
            <a:srgbClr val="8ACBC1"/>
          </a:solidFill>
        </a:fill>
      </a:tcStyle>
    </a:band2H>
    <a:band1V>
      <a:tcStyle>
        <a:tcBdr/>
      </a:tcStyle>
    </a:band1V>
    <a:band2V>
      <a:tcStyle>
        <a:tcBdr/>
      </a:tcStyle>
    </a:band2V>
    <a:lastCol>
      <a:tcTxStyle b="on">
        <a:fontRef idx="minor">
          <a:prstClr val="black"/>
        </a:fontRef>
        <a:srgbClr val="252A35"/>
      </a:tcTxStyle>
      <a:tcStyle>
        <a:tcBdr/>
      </a:tcStyle>
    </a:lastCol>
    <a:firstCol>
      <a:tcTxStyle b="on">
        <a:fontRef idx="minor">
          <a:prstClr val="black"/>
        </a:fontRef>
        <a:srgbClr val="252A35"/>
      </a:tcTxStyle>
      <a:tcStyle>
        <a:tcBdr/>
      </a:tcStyle>
    </a:firstCol>
    <a:lastRow>
      <a:tcTxStyle b="on">
        <a:fontRef idx="minor">
          <a:prstClr val="black"/>
        </a:fontRef>
        <a:srgbClr val="FFFFFF"/>
      </a:tcTxStyle>
      <a:tcStyle>
        <a:tcBdr>
          <a:left>
            <a:ln w="6350" cmpd="sng">
              <a:solidFill>
                <a:srgbClr val="FFFFFF"/>
              </a:solidFill>
            </a:ln>
          </a:left>
          <a:right>
            <a:ln w="6350" cmpd="sng">
              <a:solidFill>
                <a:srgbClr val="FFFFFF"/>
              </a:solidFill>
            </a:ln>
          </a:right>
          <a:top>
            <a:ln w="6350" cmpd="sng">
              <a:solidFill>
                <a:srgbClr val="FFFFFF"/>
              </a:solidFill>
            </a:ln>
          </a:top>
          <a:bottom>
            <a:ln w="6350" cmpd="sng">
              <a:solidFill>
                <a:srgbClr val="FFFFFF"/>
              </a:solidFill>
            </a:ln>
          </a:bottom>
          <a:insideH>
            <a:ln w="6350" cmpd="sng">
              <a:solidFill>
                <a:srgbClr val="FFFFFF"/>
              </a:solidFill>
            </a:ln>
          </a:insideH>
          <a:insideV>
            <a:ln w="6350" cmpd="sng">
              <a:solidFill>
                <a:srgbClr val="FFFFFF"/>
              </a:solidFill>
            </a:ln>
          </a:insideV>
        </a:tcBdr>
        <a:fill>
          <a:solidFill>
            <a:srgbClr val="00544F"/>
          </a:solidFill>
        </a:fill>
      </a:tcStyle>
    </a:la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704" autoAdjust="0"/>
    <p:restoredTop sz="96327" autoAdjust="0"/>
  </p:normalViewPr>
  <p:slideViewPr>
    <p:cSldViewPr snapToGrid="0" showGuides="1">
      <p:cViewPr varScale="1">
        <p:scale>
          <a:sx n="118" d="100"/>
          <a:sy n="118" d="100"/>
        </p:scale>
        <p:origin x="96" y="29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6" d="100"/>
          <a:sy n="96" d="100"/>
        </p:scale>
        <p:origin x="1056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ars Eivind Haartveit" userId="9e58778f-4911-4aa2-bd3a-4fa5bee4e25e" providerId="ADAL" clId="{D0D89DDA-32C7-4BCF-9FDB-702E0E0A3485}"/>
    <pc:docChg chg="undo custSel addSld delSld modSld sldOrd modSection replTag">
      <pc:chgData name="Lars Eivind Haartveit" userId="9e58778f-4911-4aa2-bd3a-4fa5bee4e25e" providerId="ADAL" clId="{D0D89DDA-32C7-4BCF-9FDB-702E0E0A3485}" dt="2023-06-20T09:14:11.151" v="6106" actId="114"/>
      <pc:docMkLst>
        <pc:docMk/>
      </pc:docMkLst>
      <pc:sldChg chg="addSp delSp modSp mod">
        <pc:chgData name="Lars Eivind Haartveit" userId="9e58778f-4911-4aa2-bd3a-4fa5bee4e25e" providerId="ADAL" clId="{D0D89DDA-32C7-4BCF-9FDB-702E0E0A3485}" dt="2023-06-19T06:15:06.231" v="95"/>
        <pc:sldMkLst>
          <pc:docMk/>
          <pc:sldMk cId="952019240" sldId="260"/>
        </pc:sldMkLst>
        <pc:spChg chg="mod">
          <ac:chgData name="Lars Eivind Haartveit" userId="9e58778f-4911-4aa2-bd3a-4fa5bee4e25e" providerId="ADAL" clId="{D0D89DDA-32C7-4BCF-9FDB-702E0E0A3485}" dt="2023-06-19T06:15:06.184" v="52" actId="948"/>
          <ac:spMkLst>
            <pc:docMk/>
            <pc:sldMk cId="952019240" sldId="260"/>
            <ac:spMk id="2" creationId="{00000000-0000-0000-0000-000000000000}"/>
          </ac:spMkLst>
        </pc:spChg>
        <pc:spChg chg="add del mod modVis">
          <ac:chgData name="Lars Eivind Haartveit" userId="9e58778f-4911-4aa2-bd3a-4fa5bee4e25e" providerId="ADAL" clId="{D0D89DDA-32C7-4BCF-9FDB-702E0E0A3485}" dt="2023-06-19T06:15:04.711" v="45"/>
          <ac:spMkLst>
            <pc:docMk/>
            <pc:sldMk cId="952019240" sldId="260"/>
            <ac:spMk id="6" creationId="{8DE2F698-02E5-50FF-B2A6-CCC691E2B224}"/>
          </ac:spMkLst>
        </pc:spChg>
        <pc:spChg chg="add del mod modVis">
          <ac:chgData name="Lars Eivind Haartveit" userId="9e58778f-4911-4aa2-bd3a-4fa5bee4e25e" providerId="ADAL" clId="{D0D89DDA-32C7-4BCF-9FDB-702E0E0A3485}" dt="2023-06-19T06:15:06.231" v="93"/>
          <ac:spMkLst>
            <pc:docMk/>
            <pc:sldMk cId="952019240" sldId="260"/>
            <ac:spMk id="7" creationId="{AA84DDA0-D545-7F2B-F144-0A6310F08800}"/>
          </ac:spMkLst>
        </pc:spChg>
        <pc:graphicFrameChg chg="mod">
          <ac:chgData name="Lars Eivind Haartveit" userId="9e58778f-4911-4aa2-bd3a-4fa5bee4e25e" providerId="ADAL" clId="{D0D89DDA-32C7-4BCF-9FDB-702E0E0A3485}" dt="2023-06-19T06:15:06.231" v="95"/>
          <ac:graphicFrameMkLst>
            <pc:docMk/>
            <pc:sldMk cId="952019240" sldId="260"/>
            <ac:graphicFrameMk id="5" creationId="{651A476C-085C-46BF-B9F3-2789CBE212F8}"/>
          </ac:graphicFrameMkLst>
        </pc:graphicFrameChg>
      </pc:sldChg>
      <pc:sldChg chg="modSp mod ord">
        <pc:chgData name="Lars Eivind Haartveit" userId="9e58778f-4911-4aa2-bd3a-4fa5bee4e25e" providerId="ADAL" clId="{D0D89DDA-32C7-4BCF-9FDB-702E0E0A3485}" dt="2023-06-20T08:37:09.286" v="5793"/>
        <pc:sldMkLst>
          <pc:docMk/>
          <pc:sldMk cId="1007985818" sldId="265"/>
        </pc:sldMkLst>
        <pc:spChg chg="mod">
          <ac:chgData name="Lars Eivind Haartveit" userId="9e58778f-4911-4aa2-bd3a-4fa5bee4e25e" providerId="ADAL" clId="{D0D89DDA-32C7-4BCF-9FDB-702E0E0A3485}" dt="2023-06-19T06:19:49.736" v="618" actId="20577"/>
          <ac:spMkLst>
            <pc:docMk/>
            <pc:sldMk cId="1007985818" sldId="265"/>
            <ac:spMk id="3" creationId="{E1AEE0BA-3153-7885-3FAB-51C589E7A496}"/>
          </ac:spMkLst>
        </pc:spChg>
        <pc:graphicFrameChg chg="mod">
          <ac:chgData name="Lars Eivind Haartveit" userId="9e58778f-4911-4aa2-bd3a-4fa5bee4e25e" providerId="ADAL" clId="{D0D89DDA-32C7-4BCF-9FDB-702E0E0A3485}" dt="2023-06-20T08:37:09.286" v="5793"/>
          <ac:graphicFrameMkLst>
            <pc:docMk/>
            <pc:sldMk cId="1007985818" sldId="265"/>
            <ac:graphicFrameMk id="9" creationId="{59CF7B13-977D-4551-9A34-4D18C236D93A}"/>
          </ac:graphicFrameMkLst>
        </pc:graphicFrameChg>
      </pc:sldChg>
      <pc:sldChg chg="del">
        <pc:chgData name="Lars Eivind Haartveit" userId="9e58778f-4911-4aa2-bd3a-4fa5bee4e25e" providerId="ADAL" clId="{D0D89DDA-32C7-4BCF-9FDB-702E0E0A3485}" dt="2023-06-19T06:18:33.241" v="527" actId="47"/>
        <pc:sldMkLst>
          <pc:docMk/>
          <pc:sldMk cId="2620946187" sldId="313"/>
        </pc:sldMkLst>
      </pc:sldChg>
      <pc:sldChg chg="addSp delSp modSp mod">
        <pc:chgData name="Lars Eivind Haartveit" userId="9e58778f-4911-4aa2-bd3a-4fa5bee4e25e" providerId="ADAL" clId="{D0D89DDA-32C7-4BCF-9FDB-702E0E0A3485}" dt="2023-06-20T09:13:06.591" v="6105" actId="20577"/>
        <pc:sldMkLst>
          <pc:docMk/>
          <pc:sldMk cId="2831212614" sldId="1021"/>
        </pc:sldMkLst>
        <pc:spChg chg="mod">
          <ac:chgData name="Lars Eivind Haartveit" userId="9e58778f-4911-4aa2-bd3a-4fa5bee4e25e" providerId="ADAL" clId="{D0D89DDA-32C7-4BCF-9FDB-702E0E0A3485}" dt="2023-06-19T08:46:13.103" v="4171" actId="948"/>
          <ac:spMkLst>
            <pc:docMk/>
            <pc:sldMk cId="2831212614" sldId="1021"/>
            <ac:spMk id="3" creationId="{C17F1C89-5659-419D-991D-582B96A54BA8}"/>
          </ac:spMkLst>
        </pc:spChg>
        <pc:spChg chg="mod">
          <ac:chgData name="Lars Eivind Haartveit" userId="9e58778f-4911-4aa2-bd3a-4fa5bee4e25e" providerId="ADAL" clId="{D0D89DDA-32C7-4BCF-9FDB-702E0E0A3485}" dt="2023-06-20T09:13:06.591" v="6105" actId="20577"/>
          <ac:spMkLst>
            <pc:docMk/>
            <pc:sldMk cId="2831212614" sldId="1021"/>
            <ac:spMk id="4" creationId="{F555FE0A-4FEF-141B-D18B-432DE74C7989}"/>
          </ac:spMkLst>
        </pc:spChg>
        <pc:spChg chg="add del mod modVis">
          <ac:chgData name="Lars Eivind Haartveit" userId="9e58778f-4911-4aa2-bd3a-4fa5bee4e25e" providerId="ADAL" clId="{D0D89DDA-32C7-4BCF-9FDB-702E0E0A3485}" dt="2023-06-19T08:46:03.978" v="3918"/>
          <ac:spMkLst>
            <pc:docMk/>
            <pc:sldMk cId="2831212614" sldId="1021"/>
            <ac:spMk id="7" creationId="{3F6B1DC9-4911-D16B-D715-BD51030424CA}"/>
          </ac:spMkLst>
        </pc:spChg>
        <pc:spChg chg="add del mod modVis">
          <ac:chgData name="Lars Eivind Haartveit" userId="9e58778f-4911-4aa2-bd3a-4fa5bee4e25e" providerId="ADAL" clId="{D0D89DDA-32C7-4BCF-9FDB-702E0E0A3485}" dt="2023-06-19T08:46:06.276" v="3971"/>
          <ac:spMkLst>
            <pc:docMk/>
            <pc:sldMk cId="2831212614" sldId="1021"/>
            <ac:spMk id="8" creationId="{6CC35FAE-10D6-3317-0B2F-43218BE0A90D}"/>
          </ac:spMkLst>
        </pc:spChg>
        <pc:spChg chg="add del mod modVis">
          <ac:chgData name="Lars Eivind Haartveit" userId="9e58778f-4911-4aa2-bd3a-4fa5bee4e25e" providerId="ADAL" clId="{D0D89DDA-32C7-4BCF-9FDB-702E0E0A3485}" dt="2023-06-19T08:46:06.879" v="4016"/>
          <ac:spMkLst>
            <pc:docMk/>
            <pc:sldMk cId="2831212614" sldId="1021"/>
            <ac:spMk id="9" creationId="{C67CEE4B-2440-6556-D11E-F7C7AB17EDE7}"/>
          </ac:spMkLst>
        </pc:spChg>
        <pc:spChg chg="add del mod modVis">
          <ac:chgData name="Lars Eivind Haartveit" userId="9e58778f-4911-4aa2-bd3a-4fa5bee4e25e" providerId="ADAL" clId="{D0D89DDA-32C7-4BCF-9FDB-702E0E0A3485}" dt="2023-06-19T08:46:07.828" v="4063"/>
          <ac:spMkLst>
            <pc:docMk/>
            <pc:sldMk cId="2831212614" sldId="1021"/>
            <ac:spMk id="10" creationId="{46DD6DF5-A4AF-2200-894A-8530CA045337}"/>
          </ac:spMkLst>
        </pc:spChg>
        <pc:spChg chg="add del mod modVis">
          <ac:chgData name="Lars Eivind Haartveit" userId="9e58778f-4911-4aa2-bd3a-4fa5bee4e25e" providerId="ADAL" clId="{D0D89DDA-32C7-4BCF-9FDB-702E0E0A3485}" dt="2023-06-19T08:46:10.449" v="4116"/>
          <ac:spMkLst>
            <pc:docMk/>
            <pc:sldMk cId="2831212614" sldId="1021"/>
            <ac:spMk id="11" creationId="{1526587C-6368-CAB9-94AE-08D21C06F1BB}"/>
          </ac:spMkLst>
        </pc:spChg>
        <pc:spChg chg="add del mod modVis">
          <ac:chgData name="Lars Eivind Haartveit" userId="9e58778f-4911-4aa2-bd3a-4fa5bee4e25e" providerId="ADAL" clId="{D0D89DDA-32C7-4BCF-9FDB-702E0E0A3485}" dt="2023-06-19T08:46:11.529" v="4162"/>
          <ac:spMkLst>
            <pc:docMk/>
            <pc:sldMk cId="2831212614" sldId="1021"/>
            <ac:spMk id="12" creationId="{2D622188-64F0-B0D4-B6F6-77FF29E564DF}"/>
          </ac:spMkLst>
        </pc:spChg>
        <pc:spChg chg="add del mod modVis">
          <ac:chgData name="Lars Eivind Haartveit" userId="9e58778f-4911-4aa2-bd3a-4fa5bee4e25e" providerId="ADAL" clId="{D0D89DDA-32C7-4BCF-9FDB-702E0E0A3485}" dt="2023-06-19T08:46:13.150" v="4212"/>
          <ac:spMkLst>
            <pc:docMk/>
            <pc:sldMk cId="2831212614" sldId="1021"/>
            <ac:spMk id="13" creationId="{66FBEF32-BE6B-9EB8-D1A1-0454A4F00243}"/>
          </ac:spMkLst>
        </pc:spChg>
        <pc:graphicFrameChg chg="mod">
          <ac:chgData name="Lars Eivind Haartveit" userId="9e58778f-4911-4aa2-bd3a-4fa5bee4e25e" providerId="ADAL" clId="{D0D89DDA-32C7-4BCF-9FDB-702E0E0A3485}" dt="2023-06-19T08:46:13.165" v="4214"/>
          <ac:graphicFrameMkLst>
            <pc:docMk/>
            <pc:sldMk cId="2831212614" sldId="1021"/>
            <ac:graphicFrameMk id="2" creationId="{0013A0DC-6029-4055-8860-A2D11EB01B71}"/>
          </ac:graphicFrameMkLst>
        </pc:graphicFrameChg>
        <pc:graphicFrameChg chg="mod">
          <ac:chgData name="Lars Eivind Haartveit" userId="9e58778f-4911-4aa2-bd3a-4fa5bee4e25e" providerId="ADAL" clId="{D0D89DDA-32C7-4BCF-9FDB-702E0E0A3485}" dt="2023-06-20T08:37:10.286" v="5795"/>
          <ac:graphicFrameMkLst>
            <pc:docMk/>
            <pc:sldMk cId="2831212614" sldId="1021"/>
            <ac:graphicFrameMk id="5" creationId="{542BA8F8-37E8-48C3-B77B-0FDD6AB21C4B}"/>
          </ac:graphicFrameMkLst>
        </pc:graphicFrameChg>
      </pc:sldChg>
      <pc:sldChg chg="modSp mod">
        <pc:chgData name="Lars Eivind Haartveit" userId="9e58778f-4911-4aa2-bd3a-4fa5bee4e25e" providerId="ADAL" clId="{D0D89DDA-32C7-4BCF-9FDB-702E0E0A3485}" dt="2023-06-20T08:37:08.869" v="5792"/>
        <pc:sldMkLst>
          <pc:docMk/>
          <pc:sldMk cId="3619717522" sldId="1026"/>
        </pc:sldMkLst>
        <pc:spChg chg="mod">
          <ac:chgData name="Lars Eivind Haartveit" userId="9e58778f-4911-4aa2-bd3a-4fa5bee4e25e" providerId="ADAL" clId="{D0D89DDA-32C7-4BCF-9FDB-702E0E0A3485}" dt="2023-06-19T07:44:25.614" v="1821" actId="21"/>
          <ac:spMkLst>
            <pc:docMk/>
            <pc:sldMk cId="3619717522" sldId="1026"/>
            <ac:spMk id="4" creationId="{6D7C1795-ED5B-49AD-E7AA-57B036168DCB}"/>
          </ac:spMkLst>
        </pc:spChg>
        <pc:graphicFrameChg chg="mod">
          <ac:chgData name="Lars Eivind Haartveit" userId="9e58778f-4911-4aa2-bd3a-4fa5bee4e25e" providerId="ADAL" clId="{D0D89DDA-32C7-4BCF-9FDB-702E0E0A3485}" dt="2023-06-20T08:37:08.869" v="5792"/>
          <ac:graphicFrameMkLst>
            <pc:docMk/>
            <pc:sldMk cId="3619717522" sldId="1026"/>
            <ac:graphicFrameMk id="5" creationId="{79F4E761-E856-1F4C-F6AC-4C0F0BA76EAA}"/>
          </ac:graphicFrameMkLst>
        </pc:graphicFrameChg>
      </pc:sldChg>
      <pc:sldChg chg="modSp mod">
        <pc:chgData name="Lars Eivind Haartveit" userId="9e58778f-4911-4aa2-bd3a-4fa5bee4e25e" providerId="ADAL" clId="{D0D89DDA-32C7-4BCF-9FDB-702E0E0A3485}" dt="2023-06-20T08:37:07.570" v="5791"/>
        <pc:sldMkLst>
          <pc:docMk/>
          <pc:sldMk cId="2242696898" sldId="1030"/>
        </pc:sldMkLst>
        <pc:spChg chg="mod">
          <ac:chgData name="Lars Eivind Haartveit" userId="9e58778f-4911-4aa2-bd3a-4fa5bee4e25e" providerId="ADAL" clId="{D0D89DDA-32C7-4BCF-9FDB-702E0E0A3485}" dt="2023-06-20T06:04:58.169" v="4910" actId="20577"/>
          <ac:spMkLst>
            <pc:docMk/>
            <pc:sldMk cId="2242696898" sldId="1030"/>
            <ac:spMk id="5" creationId="{5DDE0D41-A6C8-6B3B-5109-56880E56B807}"/>
          </ac:spMkLst>
        </pc:spChg>
        <pc:graphicFrameChg chg="mod">
          <ac:chgData name="Lars Eivind Haartveit" userId="9e58778f-4911-4aa2-bd3a-4fa5bee4e25e" providerId="ADAL" clId="{D0D89DDA-32C7-4BCF-9FDB-702E0E0A3485}" dt="2023-06-20T08:37:07.570" v="5791"/>
          <ac:graphicFrameMkLst>
            <pc:docMk/>
            <pc:sldMk cId="2242696898" sldId="1030"/>
            <ac:graphicFrameMk id="3" creationId="{A020A46F-3ADA-3847-2F90-3CC4BB3F2462}"/>
          </ac:graphicFrameMkLst>
        </pc:graphicFrameChg>
      </pc:sldChg>
      <pc:sldChg chg="addSp delSp modSp del mod">
        <pc:chgData name="Lars Eivind Haartveit" userId="9e58778f-4911-4aa2-bd3a-4fa5bee4e25e" providerId="ADAL" clId="{D0D89DDA-32C7-4BCF-9FDB-702E0E0A3485}" dt="2023-06-19T06:18:21.349" v="526" actId="47"/>
        <pc:sldMkLst>
          <pc:docMk/>
          <pc:sldMk cId="744111628" sldId="1033"/>
        </pc:sldMkLst>
        <pc:spChg chg="mod">
          <ac:chgData name="Lars Eivind Haartveit" userId="9e58778f-4911-4aa2-bd3a-4fa5bee4e25e" providerId="ADAL" clId="{D0D89DDA-32C7-4BCF-9FDB-702E0E0A3485}" dt="2023-06-19T06:17:10.126" v="524" actId="6549"/>
          <ac:spMkLst>
            <pc:docMk/>
            <pc:sldMk cId="744111628" sldId="1033"/>
            <ac:spMk id="2" creationId="{DF53C19F-0CE1-A828-64AE-E7486686DCC1}"/>
          </ac:spMkLst>
        </pc:spChg>
        <pc:spChg chg="mod">
          <ac:chgData name="Lars Eivind Haartveit" userId="9e58778f-4911-4aa2-bd3a-4fa5bee4e25e" providerId="ADAL" clId="{D0D89DDA-32C7-4BCF-9FDB-702E0E0A3485}" dt="2023-06-19T06:16:50.448" v="478" actId="948"/>
          <ac:spMkLst>
            <pc:docMk/>
            <pc:sldMk cId="744111628" sldId="1033"/>
            <ac:spMk id="3" creationId="{B977C944-2F17-55CD-74C5-2B1858180B23}"/>
          </ac:spMkLst>
        </pc:spChg>
        <pc:spChg chg="add del mod modVis">
          <ac:chgData name="Lars Eivind Haartveit" userId="9e58778f-4911-4aa2-bd3a-4fa5bee4e25e" providerId="ADAL" clId="{D0D89DDA-32C7-4BCF-9FDB-702E0E0A3485}" dt="2023-06-19T06:16:33.009" v="194"/>
          <ac:spMkLst>
            <pc:docMk/>
            <pc:sldMk cId="744111628" sldId="1033"/>
            <ac:spMk id="5" creationId="{D44092F1-35B4-088A-171D-5CED583350C2}"/>
          </ac:spMkLst>
        </pc:spChg>
        <pc:spChg chg="add del mod modVis">
          <ac:chgData name="Lars Eivind Haartveit" userId="9e58778f-4911-4aa2-bd3a-4fa5bee4e25e" providerId="ADAL" clId="{D0D89DDA-32C7-4BCF-9FDB-702E0E0A3485}" dt="2023-06-19T06:16:38.975" v="301"/>
          <ac:spMkLst>
            <pc:docMk/>
            <pc:sldMk cId="744111628" sldId="1033"/>
            <ac:spMk id="7" creationId="{4FDB656C-DC2C-AC30-590E-C5345487D612}"/>
          </ac:spMkLst>
        </pc:spChg>
        <pc:spChg chg="add del mod modVis">
          <ac:chgData name="Lars Eivind Haartveit" userId="9e58778f-4911-4aa2-bd3a-4fa5bee4e25e" providerId="ADAL" clId="{D0D89DDA-32C7-4BCF-9FDB-702E0E0A3485}" dt="2023-06-19T06:16:41.126" v="351"/>
          <ac:spMkLst>
            <pc:docMk/>
            <pc:sldMk cId="744111628" sldId="1033"/>
            <ac:spMk id="8" creationId="{21161B16-1405-6511-5FF1-B364224FFA4A}"/>
          </ac:spMkLst>
        </pc:spChg>
        <pc:spChg chg="add del mod modVis">
          <ac:chgData name="Lars Eivind Haartveit" userId="9e58778f-4911-4aa2-bd3a-4fa5bee4e25e" providerId="ADAL" clId="{D0D89DDA-32C7-4BCF-9FDB-702E0E0A3485}" dt="2023-06-19T06:16:44.692" v="409"/>
          <ac:spMkLst>
            <pc:docMk/>
            <pc:sldMk cId="744111628" sldId="1033"/>
            <ac:spMk id="9" creationId="{DEC60725-AEFD-32FF-8318-41C5AA7BB701}"/>
          </ac:spMkLst>
        </pc:spChg>
        <pc:spChg chg="add del mod modVis">
          <ac:chgData name="Lars Eivind Haartveit" userId="9e58778f-4911-4aa2-bd3a-4fa5bee4e25e" providerId="ADAL" clId="{D0D89DDA-32C7-4BCF-9FDB-702E0E0A3485}" dt="2023-06-19T06:16:49.325" v="474"/>
          <ac:spMkLst>
            <pc:docMk/>
            <pc:sldMk cId="744111628" sldId="1033"/>
            <ac:spMk id="10" creationId="{3FE1AF15-E624-2FED-7CAD-996C6BB102C0}"/>
          </ac:spMkLst>
        </pc:spChg>
        <pc:spChg chg="add del mod modVis">
          <ac:chgData name="Lars Eivind Haartveit" userId="9e58778f-4911-4aa2-bd3a-4fa5bee4e25e" providerId="ADAL" clId="{D0D89DDA-32C7-4BCF-9FDB-702E0E0A3485}" dt="2023-06-19T06:16:50.499" v="519"/>
          <ac:spMkLst>
            <pc:docMk/>
            <pc:sldMk cId="744111628" sldId="1033"/>
            <ac:spMk id="11" creationId="{525E77C7-87DA-2A27-956C-6111D0CD8580}"/>
          </ac:spMkLst>
        </pc:spChg>
        <pc:graphicFrameChg chg="mod">
          <ac:chgData name="Lars Eivind Haartveit" userId="9e58778f-4911-4aa2-bd3a-4fa5bee4e25e" providerId="ADAL" clId="{D0D89DDA-32C7-4BCF-9FDB-702E0E0A3485}" dt="2023-06-19T06:15:34.386" v="98"/>
          <ac:graphicFrameMkLst>
            <pc:docMk/>
            <pc:sldMk cId="744111628" sldId="1033"/>
            <ac:graphicFrameMk id="4" creationId="{7A129280-A52C-5EEA-9309-FBEA2C7A076E}"/>
          </ac:graphicFrameMkLst>
        </pc:graphicFrameChg>
        <pc:graphicFrameChg chg="add mod ord modVis replST">
          <ac:chgData name="Lars Eivind Haartveit" userId="9e58778f-4911-4aa2-bd3a-4fa5bee4e25e" providerId="ADAL" clId="{D0D89DDA-32C7-4BCF-9FDB-702E0E0A3485}" dt="2023-06-19T06:16:50.499" v="521"/>
          <ac:graphicFrameMkLst>
            <pc:docMk/>
            <pc:sldMk cId="744111628" sldId="1033"/>
            <ac:graphicFrameMk id="6" creationId="{664FB40D-BCDB-8315-D463-B1ED2110339D}"/>
          </ac:graphicFrameMkLst>
        </pc:graphicFrameChg>
      </pc:sldChg>
      <pc:sldChg chg="addSp delSp modSp mod">
        <pc:chgData name="Lars Eivind Haartveit" userId="9e58778f-4911-4aa2-bd3a-4fa5bee4e25e" providerId="ADAL" clId="{D0D89DDA-32C7-4BCF-9FDB-702E0E0A3485}" dt="2023-06-20T09:14:11.151" v="6106" actId="114"/>
        <pc:sldMkLst>
          <pc:docMk/>
          <pc:sldMk cId="1108381004" sldId="1035"/>
        </pc:sldMkLst>
        <pc:spChg chg="mod ord">
          <ac:chgData name="Lars Eivind Haartveit" userId="9e58778f-4911-4aa2-bd3a-4fa5bee4e25e" providerId="ADAL" clId="{D0D89DDA-32C7-4BCF-9FDB-702E0E0A3485}" dt="2023-06-20T08:17:52.656" v="5668"/>
          <ac:spMkLst>
            <pc:docMk/>
            <pc:sldMk cId="1108381004" sldId="1035"/>
            <ac:spMk id="2" creationId="{00000000-0000-0000-0000-000000000000}"/>
          </ac:spMkLst>
        </pc:spChg>
        <pc:spChg chg="mod ord">
          <ac:chgData name="Lars Eivind Haartveit" userId="9e58778f-4911-4aa2-bd3a-4fa5bee4e25e" providerId="ADAL" clId="{D0D89DDA-32C7-4BCF-9FDB-702E0E0A3485}" dt="2023-06-20T08:17:52.656" v="5666"/>
          <ac:spMkLst>
            <pc:docMk/>
            <pc:sldMk cId="1108381004" sldId="1035"/>
            <ac:spMk id="3" creationId="{08FEC0E4-FF1F-4DA2-A7F7-4CCA77069698}"/>
          </ac:spMkLst>
        </pc:spChg>
        <pc:spChg chg="mod ord">
          <ac:chgData name="Lars Eivind Haartveit" userId="9e58778f-4911-4aa2-bd3a-4fa5bee4e25e" providerId="ADAL" clId="{D0D89DDA-32C7-4BCF-9FDB-702E0E0A3485}" dt="2023-06-20T09:14:11.151" v="6106" actId="114"/>
          <ac:spMkLst>
            <pc:docMk/>
            <pc:sldMk cId="1108381004" sldId="1035"/>
            <ac:spMk id="4" creationId="{B4C43C5F-DFD4-4CAE-AA3F-C2F86E71B438}"/>
          </ac:spMkLst>
        </pc:spChg>
        <pc:spChg chg="mod">
          <ac:chgData name="Lars Eivind Haartveit" userId="9e58778f-4911-4aa2-bd3a-4fa5bee4e25e" providerId="ADAL" clId="{D0D89DDA-32C7-4BCF-9FDB-702E0E0A3485}" dt="2023-06-20T08:17:52.688" v="5755"/>
          <ac:spMkLst>
            <pc:docMk/>
            <pc:sldMk cId="1108381004" sldId="1035"/>
            <ac:spMk id="5" creationId="{7A4264F9-E6CB-401D-809F-86DD420D084B}"/>
          </ac:spMkLst>
        </pc:spChg>
        <pc:spChg chg="add del mod modVis">
          <ac:chgData name="Lars Eivind Haartveit" userId="9e58778f-4911-4aa2-bd3a-4fa5bee4e25e" providerId="ADAL" clId="{D0D89DDA-32C7-4BCF-9FDB-702E0E0A3485}" dt="2023-06-20T08:17:52.691" v="5764"/>
          <ac:spMkLst>
            <pc:docMk/>
            <pc:sldMk cId="1108381004" sldId="1035"/>
            <ac:spMk id="7" creationId="{36D93919-E4E8-7072-30AF-E236DB485F8B}"/>
          </ac:spMkLst>
        </pc:spChg>
        <pc:spChg chg="add del mod modVis">
          <ac:chgData name="Lars Eivind Haartveit" userId="9e58778f-4911-4aa2-bd3a-4fa5bee4e25e" providerId="ADAL" clId="{D0D89DDA-32C7-4BCF-9FDB-702E0E0A3485}" dt="2023-06-19T07:07:42.131" v="1134"/>
          <ac:spMkLst>
            <pc:docMk/>
            <pc:sldMk cId="1108381004" sldId="1035"/>
            <ac:spMk id="7" creationId="{8640A026-1352-FE4B-A89E-24EB94215C1B}"/>
          </ac:spMkLst>
        </pc:spChg>
        <pc:spChg chg="add del mod ord replST">
          <ac:chgData name="Lars Eivind Haartveit" userId="9e58778f-4911-4aa2-bd3a-4fa5bee4e25e" providerId="ADAL" clId="{D0D89DDA-32C7-4BCF-9FDB-702E0E0A3485}" dt="2023-06-20T08:17:52.479" v="5505"/>
          <ac:spMkLst>
            <pc:docMk/>
            <pc:sldMk cId="1108381004" sldId="1035"/>
            <ac:spMk id="8" creationId="{376CB05C-D5FC-C602-7411-A8BBB25E9324}"/>
          </ac:spMkLst>
        </pc:spChg>
        <pc:spChg chg="add del mod ord replST">
          <ac:chgData name="Lars Eivind Haartveit" userId="9e58778f-4911-4aa2-bd3a-4fa5bee4e25e" providerId="ADAL" clId="{D0D89DDA-32C7-4BCF-9FDB-702E0E0A3485}" dt="2023-06-20T08:17:52.487" v="5520"/>
          <ac:spMkLst>
            <pc:docMk/>
            <pc:sldMk cId="1108381004" sldId="1035"/>
            <ac:spMk id="9" creationId="{845DB1B2-66A5-0EBD-1E90-27A1887603D9}"/>
          </ac:spMkLst>
        </pc:spChg>
        <pc:spChg chg="add del mod replST">
          <ac:chgData name="Lars Eivind Haartveit" userId="9e58778f-4911-4aa2-bd3a-4fa5bee4e25e" providerId="ADAL" clId="{D0D89DDA-32C7-4BCF-9FDB-702E0E0A3485}" dt="2023-06-20T08:17:52.495" v="5534"/>
          <ac:spMkLst>
            <pc:docMk/>
            <pc:sldMk cId="1108381004" sldId="1035"/>
            <ac:spMk id="10" creationId="{743585DE-27BE-C88F-73E3-FDA8F8A8F3C0}"/>
          </ac:spMkLst>
        </pc:spChg>
        <pc:spChg chg="add mod ord replST">
          <ac:chgData name="Lars Eivind Haartveit" userId="9e58778f-4911-4aa2-bd3a-4fa5bee4e25e" providerId="ADAL" clId="{D0D89DDA-32C7-4BCF-9FDB-702E0E0A3485}" dt="2023-06-20T08:17:52.667" v="5709"/>
          <ac:spMkLst>
            <pc:docMk/>
            <pc:sldMk cId="1108381004" sldId="1035"/>
            <ac:spMk id="11" creationId="{6BF2BF4E-C4B5-DC8F-2624-F4598EC21F2A}"/>
          </ac:spMkLst>
        </pc:spChg>
        <pc:spChg chg="del">
          <ac:chgData name="Lars Eivind Haartveit" userId="9e58778f-4911-4aa2-bd3a-4fa5bee4e25e" providerId="ADAL" clId="{D0D89DDA-32C7-4BCF-9FDB-702E0E0A3485}" dt="2023-06-19T07:07:41.440" v="779"/>
          <ac:spMkLst>
            <pc:docMk/>
            <pc:sldMk cId="1108381004" sldId="1035"/>
            <ac:spMk id="11" creationId="{745E4A2D-56F8-8B49-D052-888DAC6C140C}"/>
          </ac:spMkLst>
        </pc:spChg>
        <pc:spChg chg="add mod ord replST">
          <ac:chgData name="Lars Eivind Haartveit" userId="9e58778f-4911-4aa2-bd3a-4fa5bee4e25e" providerId="ADAL" clId="{D0D89DDA-32C7-4BCF-9FDB-702E0E0A3485}" dt="2023-06-20T08:17:52.668" v="5711"/>
          <ac:spMkLst>
            <pc:docMk/>
            <pc:sldMk cId="1108381004" sldId="1035"/>
            <ac:spMk id="12" creationId="{55093D0E-110D-8704-B1C5-FDF2AC940CD8}"/>
          </ac:spMkLst>
        </pc:spChg>
        <pc:spChg chg="del">
          <ac:chgData name="Lars Eivind Haartveit" userId="9e58778f-4911-4aa2-bd3a-4fa5bee4e25e" providerId="ADAL" clId="{D0D89DDA-32C7-4BCF-9FDB-702E0E0A3485}" dt="2023-06-19T07:07:41.471" v="794"/>
          <ac:spMkLst>
            <pc:docMk/>
            <pc:sldMk cId="1108381004" sldId="1035"/>
            <ac:spMk id="12" creationId="{E5CDB3A5-77AB-3585-15FB-F2AA34CE7F6F}"/>
          </ac:spMkLst>
        </pc:spChg>
        <pc:spChg chg="del">
          <ac:chgData name="Lars Eivind Haartveit" userId="9e58778f-4911-4aa2-bd3a-4fa5bee4e25e" providerId="ADAL" clId="{D0D89DDA-32C7-4BCF-9FDB-702E0E0A3485}" dt="2023-06-19T07:07:41.487" v="808"/>
          <ac:spMkLst>
            <pc:docMk/>
            <pc:sldMk cId="1108381004" sldId="1035"/>
            <ac:spMk id="13" creationId="{40A813CA-F645-CCF2-C817-F7037BD84D6A}"/>
          </ac:spMkLst>
        </pc:spChg>
        <pc:spChg chg="add mod replST">
          <ac:chgData name="Lars Eivind Haartveit" userId="9e58778f-4911-4aa2-bd3a-4fa5bee4e25e" providerId="ADAL" clId="{D0D89DDA-32C7-4BCF-9FDB-702E0E0A3485}" dt="2023-06-20T08:17:52.666" v="5707"/>
          <ac:spMkLst>
            <pc:docMk/>
            <pc:sldMk cId="1108381004" sldId="1035"/>
            <ac:spMk id="13" creationId="{97BFA27A-FFDC-0AE0-ACF8-1086B75C26A9}"/>
          </ac:spMkLst>
        </pc:spChg>
        <pc:spChg chg="add del mod modVis">
          <ac:chgData name="Lars Eivind Haartveit" userId="9e58778f-4911-4aa2-bd3a-4fa5bee4e25e" providerId="ADAL" clId="{D0D89DDA-32C7-4BCF-9FDB-702E0E0A3485}" dt="2023-06-19T07:08:09.320" v="1334"/>
          <ac:spMkLst>
            <pc:docMk/>
            <pc:sldMk cId="1108381004" sldId="1035"/>
            <ac:spMk id="15" creationId="{03A8C017-AD81-933C-8332-F86A7BAAB57E}"/>
          </ac:spMkLst>
        </pc:spChg>
        <pc:spChg chg="mod">
          <ac:chgData name="Lars Eivind Haartveit" userId="9e58778f-4911-4aa2-bd3a-4fa5bee4e25e" providerId="ADAL" clId="{D0D89DDA-32C7-4BCF-9FDB-702E0E0A3485}" dt="2023-06-20T08:17:52.665" v="5704"/>
          <ac:spMkLst>
            <pc:docMk/>
            <pc:sldMk cId="1108381004" sldId="1035"/>
            <ac:spMk id="16" creationId="{D49D7B1D-153A-46F1-B5D4-F48C706F2597}"/>
          </ac:spMkLst>
        </pc:spChg>
        <pc:spChg chg="mod">
          <ac:chgData name="Lars Eivind Haartveit" userId="9e58778f-4911-4aa2-bd3a-4fa5bee4e25e" providerId="ADAL" clId="{D0D89DDA-32C7-4BCF-9FDB-702E0E0A3485}" dt="2023-06-20T08:17:52.663" v="5698"/>
          <ac:spMkLst>
            <pc:docMk/>
            <pc:sldMk cId="1108381004" sldId="1035"/>
            <ac:spMk id="20" creationId="{DBB3714D-292C-416A-B0FC-0EA6700EBEDB}"/>
          </ac:spMkLst>
        </pc:spChg>
        <pc:spChg chg="add del mod modVis">
          <ac:chgData name="Lars Eivind Haartveit" userId="9e58778f-4911-4aa2-bd3a-4fa5bee4e25e" providerId="ADAL" clId="{D0D89DDA-32C7-4BCF-9FDB-702E0E0A3485}" dt="2023-06-19T07:22:59.143" v="1534"/>
          <ac:spMkLst>
            <pc:docMk/>
            <pc:sldMk cId="1108381004" sldId="1035"/>
            <ac:spMk id="21" creationId="{3886B425-6ED1-7353-16DD-C0EB9B107672}"/>
          </ac:spMkLst>
        </pc:spChg>
        <pc:spChg chg="mod">
          <ac:chgData name="Lars Eivind Haartveit" userId="9e58778f-4911-4aa2-bd3a-4fa5bee4e25e" providerId="ADAL" clId="{D0D89DDA-32C7-4BCF-9FDB-702E0E0A3485}" dt="2023-06-20T08:17:52.664" v="5701"/>
          <ac:spMkLst>
            <pc:docMk/>
            <pc:sldMk cId="1108381004" sldId="1035"/>
            <ac:spMk id="22" creationId="{0AE9048C-AEFD-44CA-98DF-904FD13D1478}"/>
          </ac:spMkLst>
        </pc:spChg>
        <pc:spChg chg="add del mod modVis">
          <ac:chgData name="Lars Eivind Haartveit" userId="9e58778f-4911-4aa2-bd3a-4fa5bee4e25e" providerId="ADAL" clId="{D0D89DDA-32C7-4BCF-9FDB-702E0E0A3485}" dt="2023-06-19T07:37:34.257" v="1768"/>
          <ac:spMkLst>
            <pc:docMk/>
            <pc:sldMk cId="1108381004" sldId="1035"/>
            <ac:spMk id="24" creationId="{5EA3AE2C-BC23-7EAD-8907-6401EF3449B3}"/>
          </ac:spMkLst>
        </pc:spChg>
        <pc:spChg chg="mod">
          <ac:chgData name="Lars Eivind Haartveit" userId="9e58778f-4911-4aa2-bd3a-4fa5bee4e25e" providerId="ADAL" clId="{D0D89DDA-32C7-4BCF-9FDB-702E0E0A3485}" dt="2023-06-20T08:17:52.664" v="5700"/>
          <ac:spMkLst>
            <pc:docMk/>
            <pc:sldMk cId="1108381004" sldId="1035"/>
            <ac:spMk id="26" creationId="{AFE84E88-9B3A-19A1-BC41-9161D3B253B9}"/>
          </ac:spMkLst>
        </pc:spChg>
        <pc:spChg chg="add del mod modVis">
          <ac:chgData name="Lars Eivind Haartveit" userId="9e58778f-4911-4aa2-bd3a-4fa5bee4e25e" providerId="ADAL" clId="{D0D89DDA-32C7-4BCF-9FDB-702E0E0A3485}" dt="2023-06-19T08:04:13.134" v="2199"/>
          <ac:spMkLst>
            <pc:docMk/>
            <pc:sldMk cId="1108381004" sldId="1035"/>
            <ac:spMk id="29" creationId="{9F6262D4-6AB9-B00B-FB10-025D6CEA2E9A}"/>
          </ac:spMkLst>
        </pc:spChg>
        <pc:spChg chg="add del mod modVis">
          <ac:chgData name="Lars Eivind Haartveit" userId="9e58778f-4911-4aa2-bd3a-4fa5bee4e25e" providerId="ADAL" clId="{D0D89DDA-32C7-4BCF-9FDB-702E0E0A3485}" dt="2023-06-19T08:11:06.075" v="2433"/>
          <ac:spMkLst>
            <pc:docMk/>
            <pc:sldMk cId="1108381004" sldId="1035"/>
            <ac:spMk id="32" creationId="{0A25F3BC-2A26-59FD-2FFA-4A7937940563}"/>
          </ac:spMkLst>
        </pc:spChg>
        <pc:spChg chg="add del mod modVis">
          <ac:chgData name="Lars Eivind Haartveit" userId="9e58778f-4911-4aa2-bd3a-4fa5bee4e25e" providerId="ADAL" clId="{D0D89DDA-32C7-4BCF-9FDB-702E0E0A3485}" dt="2023-06-19T08:17:59.715" v="2633"/>
          <ac:spMkLst>
            <pc:docMk/>
            <pc:sldMk cId="1108381004" sldId="1035"/>
            <ac:spMk id="34" creationId="{F1E1A1D6-EC7D-1CF8-690A-FD17732FC27C}"/>
          </ac:spMkLst>
        </pc:spChg>
        <pc:spChg chg="mod">
          <ac:chgData name="Lars Eivind Haartveit" userId="9e58778f-4911-4aa2-bd3a-4fa5bee4e25e" providerId="ADAL" clId="{D0D89DDA-32C7-4BCF-9FDB-702E0E0A3485}" dt="2023-06-20T08:17:52.679" v="5737"/>
          <ac:spMkLst>
            <pc:docMk/>
            <pc:sldMk cId="1108381004" sldId="1035"/>
            <ac:spMk id="36" creationId="{51BBC011-615C-4871-B960-13A065085E34}"/>
          </ac:spMkLst>
        </pc:spChg>
        <pc:spChg chg="mod">
          <ac:chgData name="Lars Eivind Haartveit" userId="9e58778f-4911-4aa2-bd3a-4fa5bee4e25e" providerId="ADAL" clId="{D0D89DDA-32C7-4BCF-9FDB-702E0E0A3485}" dt="2023-06-20T08:17:52.688" v="5757"/>
          <ac:spMkLst>
            <pc:docMk/>
            <pc:sldMk cId="1108381004" sldId="1035"/>
            <ac:spMk id="37" creationId="{D08D2108-23D2-4EC5-80E2-B52118866246}"/>
          </ac:spMkLst>
        </pc:spChg>
        <pc:spChg chg="mod">
          <ac:chgData name="Lars Eivind Haartveit" userId="9e58778f-4911-4aa2-bd3a-4fa5bee4e25e" providerId="ADAL" clId="{D0D89DDA-32C7-4BCF-9FDB-702E0E0A3485}" dt="2023-06-20T08:17:52.688" v="5756"/>
          <ac:spMkLst>
            <pc:docMk/>
            <pc:sldMk cId="1108381004" sldId="1035"/>
            <ac:spMk id="38" creationId="{49989295-C56D-4751-94DB-0B8DD7C95CBA}"/>
          </ac:spMkLst>
        </pc:spChg>
        <pc:spChg chg="mod">
          <ac:chgData name="Lars Eivind Haartveit" userId="9e58778f-4911-4aa2-bd3a-4fa5bee4e25e" providerId="ADAL" clId="{D0D89DDA-32C7-4BCF-9FDB-702E0E0A3485}" dt="2023-06-20T08:17:52.689" v="5758"/>
          <ac:spMkLst>
            <pc:docMk/>
            <pc:sldMk cId="1108381004" sldId="1035"/>
            <ac:spMk id="39" creationId="{AFE8DCC8-4341-416C-84D3-B6CADBDC34F5}"/>
          </ac:spMkLst>
        </pc:spChg>
        <pc:spChg chg="mod">
          <ac:chgData name="Lars Eivind Haartveit" userId="9e58778f-4911-4aa2-bd3a-4fa5bee4e25e" providerId="ADAL" clId="{D0D89DDA-32C7-4BCF-9FDB-702E0E0A3485}" dt="2023-06-20T08:17:52.690" v="5760"/>
          <ac:spMkLst>
            <pc:docMk/>
            <pc:sldMk cId="1108381004" sldId="1035"/>
            <ac:spMk id="40" creationId="{A840524E-58FA-4F72-A2FD-D6CFD4E42DB2}"/>
          </ac:spMkLst>
        </pc:spChg>
        <pc:spChg chg="add del mod modVis">
          <ac:chgData name="Lars Eivind Haartveit" userId="9e58778f-4911-4aa2-bd3a-4fa5bee4e25e" providerId="ADAL" clId="{D0D89DDA-32C7-4BCF-9FDB-702E0E0A3485}" dt="2023-06-19T08:26:15.007" v="2841"/>
          <ac:spMkLst>
            <pc:docMk/>
            <pc:sldMk cId="1108381004" sldId="1035"/>
            <ac:spMk id="41" creationId="{D9315015-30FF-74AB-D2D9-7763E187A72F}"/>
          </ac:spMkLst>
        </pc:spChg>
        <pc:spChg chg="add del mod modVis">
          <ac:chgData name="Lars Eivind Haartveit" userId="9e58778f-4911-4aa2-bd3a-4fa5bee4e25e" providerId="ADAL" clId="{D0D89DDA-32C7-4BCF-9FDB-702E0E0A3485}" dt="2023-06-19T08:36:46.884" v="3075"/>
          <ac:spMkLst>
            <pc:docMk/>
            <pc:sldMk cId="1108381004" sldId="1035"/>
            <ac:spMk id="43" creationId="{D7F5E2EE-EBB5-171D-27AD-74B745CC996B}"/>
          </ac:spMkLst>
        </pc:spChg>
        <pc:spChg chg="add del mod modVis">
          <ac:chgData name="Lars Eivind Haartveit" userId="9e58778f-4911-4aa2-bd3a-4fa5bee4e25e" providerId="ADAL" clId="{D0D89DDA-32C7-4BCF-9FDB-702E0E0A3485}" dt="2023-06-19T08:36:58.560" v="3275"/>
          <ac:spMkLst>
            <pc:docMk/>
            <pc:sldMk cId="1108381004" sldId="1035"/>
            <ac:spMk id="45" creationId="{1C5D4CD7-367A-8B13-7A93-6C0E424671BE}"/>
          </ac:spMkLst>
        </pc:spChg>
        <pc:spChg chg="add del mod modVis">
          <ac:chgData name="Lars Eivind Haartveit" userId="9e58778f-4911-4aa2-bd3a-4fa5bee4e25e" providerId="ADAL" clId="{D0D89DDA-32C7-4BCF-9FDB-702E0E0A3485}" dt="2023-06-19T08:43:53.314" v="3511"/>
          <ac:spMkLst>
            <pc:docMk/>
            <pc:sldMk cId="1108381004" sldId="1035"/>
            <ac:spMk id="47" creationId="{570FE17F-E94F-5B1B-244D-B2566A9D22D2}"/>
          </ac:spMkLst>
        </pc:spChg>
        <pc:spChg chg="mod">
          <ac:chgData name="Lars Eivind Haartveit" userId="9e58778f-4911-4aa2-bd3a-4fa5bee4e25e" providerId="ADAL" clId="{D0D89DDA-32C7-4BCF-9FDB-702E0E0A3485}" dt="2023-06-20T08:17:52.689" v="5759"/>
          <ac:spMkLst>
            <pc:docMk/>
            <pc:sldMk cId="1108381004" sldId="1035"/>
            <ac:spMk id="49" creationId="{5E9C3271-380F-493A-BC70-9F8A91F247B4}"/>
          </ac:spMkLst>
        </pc:spChg>
        <pc:spChg chg="add del mod modVis">
          <ac:chgData name="Lars Eivind Haartveit" userId="9e58778f-4911-4aa2-bd3a-4fa5bee4e25e" providerId="ADAL" clId="{D0D89DDA-32C7-4BCF-9FDB-702E0E0A3485}" dt="2023-06-19T08:45:47.392" v="3873"/>
          <ac:spMkLst>
            <pc:docMk/>
            <pc:sldMk cId="1108381004" sldId="1035"/>
            <ac:spMk id="51" creationId="{CC2186B3-2559-610F-26D3-51E37FC7D364}"/>
          </ac:spMkLst>
        </pc:spChg>
        <pc:spChg chg="add del mod modVis">
          <ac:chgData name="Lars Eivind Haartveit" userId="9e58778f-4911-4aa2-bd3a-4fa5bee4e25e" providerId="ADAL" clId="{D0D89DDA-32C7-4BCF-9FDB-702E0E0A3485}" dt="2023-06-19T09:14:50.167" v="4843"/>
          <ac:spMkLst>
            <pc:docMk/>
            <pc:sldMk cId="1108381004" sldId="1035"/>
            <ac:spMk id="53" creationId="{FB2E4AD5-97D5-7461-835D-50AD9DCFFA14}"/>
          </ac:spMkLst>
        </pc:spChg>
        <pc:spChg chg="mod">
          <ac:chgData name="Lars Eivind Haartveit" userId="9e58778f-4911-4aa2-bd3a-4fa5bee4e25e" providerId="ADAL" clId="{D0D89DDA-32C7-4BCF-9FDB-702E0E0A3485}" dt="2023-06-20T08:17:52.662" v="5695"/>
          <ac:spMkLst>
            <pc:docMk/>
            <pc:sldMk cId="1108381004" sldId="1035"/>
            <ac:spMk id="54" creationId="{0910ACFC-006E-040A-4F4C-AD13FFCC9403}"/>
          </ac:spMkLst>
        </pc:spChg>
        <pc:spChg chg="mod">
          <ac:chgData name="Lars Eivind Haartveit" userId="9e58778f-4911-4aa2-bd3a-4fa5bee4e25e" providerId="ADAL" clId="{D0D89DDA-32C7-4BCF-9FDB-702E0E0A3485}" dt="2023-06-20T08:17:52.664" v="5699"/>
          <ac:spMkLst>
            <pc:docMk/>
            <pc:sldMk cId="1108381004" sldId="1035"/>
            <ac:spMk id="57" creationId="{05B221C3-3185-AD46-1E36-42345C99C447}"/>
          </ac:spMkLst>
        </pc:spChg>
        <pc:spChg chg="mod">
          <ac:chgData name="Lars Eivind Haartveit" userId="9e58778f-4911-4aa2-bd3a-4fa5bee4e25e" providerId="ADAL" clId="{D0D89DDA-32C7-4BCF-9FDB-702E0E0A3485}" dt="2023-06-20T08:17:52.664" v="5702"/>
          <ac:spMkLst>
            <pc:docMk/>
            <pc:sldMk cId="1108381004" sldId="1035"/>
            <ac:spMk id="59" creationId="{6FC631A4-8446-1EC2-0D61-E90711B1A68A}"/>
          </ac:spMkLst>
        </pc:spChg>
        <pc:spChg chg="mod">
          <ac:chgData name="Lars Eivind Haartveit" userId="9e58778f-4911-4aa2-bd3a-4fa5bee4e25e" providerId="ADAL" clId="{D0D89DDA-32C7-4BCF-9FDB-702E0E0A3485}" dt="2023-06-20T08:17:52.665" v="5705"/>
          <ac:spMkLst>
            <pc:docMk/>
            <pc:sldMk cId="1108381004" sldId="1035"/>
            <ac:spMk id="60" creationId="{912EBD4F-004C-4EA0-C536-1B3D5F2ACDEA}"/>
          </ac:spMkLst>
        </pc:spChg>
        <pc:spChg chg="mod">
          <ac:chgData name="Lars Eivind Haartveit" userId="9e58778f-4911-4aa2-bd3a-4fa5bee4e25e" providerId="ADAL" clId="{D0D89DDA-32C7-4BCF-9FDB-702E0E0A3485}" dt="2023-06-20T08:17:52.666" v="5706"/>
          <ac:spMkLst>
            <pc:docMk/>
            <pc:sldMk cId="1108381004" sldId="1035"/>
            <ac:spMk id="61" creationId="{234498DD-954D-47BE-A2A2-DD5F7B7FEE0A}"/>
          </ac:spMkLst>
        </pc:spChg>
        <pc:spChg chg="mod">
          <ac:chgData name="Lars Eivind Haartveit" userId="9e58778f-4911-4aa2-bd3a-4fa5bee4e25e" providerId="ADAL" clId="{D0D89DDA-32C7-4BCF-9FDB-702E0E0A3485}" dt="2023-06-20T08:17:52.663" v="5696"/>
          <ac:spMkLst>
            <pc:docMk/>
            <pc:sldMk cId="1108381004" sldId="1035"/>
            <ac:spMk id="62" creationId="{C8B4BA42-437E-FD2A-2794-05185A71B0B5}"/>
          </ac:spMkLst>
        </pc:spChg>
        <pc:spChg chg="mod ord">
          <ac:chgData name="Lars Eivind Haartveit" userId="9e58778f-4911-4aa2-bd3a-4fa5bee4e25e" providerId="ADAL" clId="{D0D89DDA-32C7-4BCF-9FDB-702E0E0A3485}" dt="2023-06-20T08:17:52.681" v="5740"/>
          <ac:spMkLst>
            <pc:docMk/>
            <pc:sldMk cId="1108381004" sldId="1035"/>
            <ac:spMk id="63" creationId="{9C0E5C0E-7628-4599-A6F6-D088EADB704A}"/>
          </ac:spMkLst>
        </pc:spChg>
        <pc:spChg chg="mod">
          <ac:chgData name="Lars Eivind Haartveit" userId="9e58778f-4911-4aa2-bd3a-4fa5bee4e25e" providerId="ADAL" clId="{D0D89DDA-32C7-4BCF-9FDB-702E0E0A3485}" dt="2023-06-20T08:17:52.663" v="5697"/>
          <ac:spMkLst>
            <pc:docMk/>
            <pc:sldMk cId="1108381004" sldId="1035"/>
            <ac:spMk id="64" creationId="{A66A7C55-2B3B-D22A-A25B-1FDCB2F2723E}"/>
          </ac:spMkLst>
        </pc:spChg>
        <pc:spChg chg="mod">
          <ac:chgData name="Lars Eivind Haartveit" userId="9e58778f-4911-4aa2-bd3a-4fa5bee4e25e" providerId="ADAL" clId="{D0D89DDA-32C7-4BCF-9FDB-702E0E0A3485}" dt="2023-06-20T08:17:52.665" v="5703"/>
          <ac:spMkLst>
            <pc:docMk/>
            <pc:sldMk cId="1108381004" sldId="1035"/>
            <ac:spMk id="65" creationId="{46B8992A-8299-B2A8-2585-F88B79B61234}"/>
          </ac:spMkLst>
        </pc:spChg>
        <pc:spChg chg="mod ord">
          <ac:chgData name="Lars Eivind Haartveit" userId="9e58778f-4911-4aa2-bd3a-4fa5bee4e25e" providerId="ADAL" clId="{D0D89DDA-32C7-4BCF-9FDB-702E0E0A3485}" dt="2023-06-20T08:17:52.676" v="5732"/>
          <ac:spMkLst>
            <pc:docMk/>
            <pc:sldMk cId="1108381004" sldId="1035"/>
            <ac:spMk id="66" creationId="{92AE0821-2D85-4C78-B462-B5C675F4161A}"/>
          </ac:spMkLst>
        </pc:spChg>
        <pc:spChg chg="mod">
          <ac:chgData name="Lars Eivind Haartveit" userId="9e58778f-4911-4aa2-bd3a-4fa5bee4e25e" providerId="ADAL" clId="{D0D89DDA-32C7-4BCF-9FDB-702E0E0A3485}" dt="2023-06-20T08:17:52.679" v="5738"/>
          <ac:spMkLst>
            <pc:docMk/>
            <pc:sldMk cId="1108381004" sldId="1035"/>
            <ac:spMk id="67" creationId="{AC78289E-6CDB-48BC-BF02-A04A5295E27A}"/>
          </ac:spMkLst>
        </pc:spChg>
        <pc:spChg chg="mod">
          <ac:chgData name="Lars Eivind Haartveit" userId="9e58778f-4911-4aa2-bd3a-4fa5bee4e25e" providerId="ADAL" clId="{D0D89DDA-32C7-4BCF-9FDB-702E0E0A3485}" dt="2023-06-20T08:17:52.682" v="5743"/>
          <ac:spMkLst>
            <pc:docMk/>
            <pc:sldMk cId="1108381004" sldId="1035"/>
            <ac:spMk id="69" creationId="{98DDE55F-F16B-45B0-AAC1-7796B27E6FF1}"/>
          </ac:spMkLst>
        </pc:spChg>
        <pc:spChg chg="mod ord">
          <ac:chgData name="Lars Eivind Haartveit" userId="9e58778f-4911-4aa2-bd3a-4fa5bee4e25e" providerId="ADAL" clId="{D0D89DDA-32C7-4BCF-9FDB-702E0E0A3485}" dt="2023-06-20T08:17:52.687" v="5754"/>
          <ac:spMkLst>
            <pc:docMk/>
            <pc:sldMk cId="1108381004" sldId="1035"/>
            <ac:spMk id="70" creationId="{27F9102F-ACF5-4172-96C8-EB7621BFDFD2}"/>
          </ac:spMkLst>
        </pc:spChg>
        <pc:spChg chg="mod">
          <ac:chgData name="Lars Eivind Haartveit" userId="9e58778f-4911-4aa2-bd3a-4fa5bee4e25e" providerId="ADAL" clId="{D0D89DDA-32C7-4BCF-9FDB-702E0E0A3485}" dt="2023-06-20T08:17:52.674" v="5728"/>
          <ac:spMkLst>
            <pc:docMk/>
            <pc:sldMk cId="1108381004" sldId="1035"/>
            <ac:spMk id="71" creationId="{F319131F-41AB-4007-8895-13012272DA6B}"/>
          </ac:spMkLst>
        </pc:spChg>
        <pc:spChg chg="mod">
          <ac:chgData name="Lars Eivind Haartveit" userId="9e58778f-4911-4aa2-bd3a-4fa5bee4e25e" providerId="ADAL" clId="{D0D89DDA-32C7-4BCF-9FDB-702E0E0A3485}" dt="2023-06-20T08:17:52.684" v="5746"/>
          <ac:spMkLst>
            <pc:docMk/>
            <pc:sldMk cId="1108381004" sldId="1035"/>
            <ac:spMk id="73" creationId="{E094CA3B-C2CE-4C09-8C39-8DF4854B12D6}"/>
          </ac:spMkLst>
        </pc:spChg>
        <pc:spChg chg="mod">
          <ac:chgData name="Lars Eivind Haartveit" userId="9e58778f-4911-4aa2-bd3a-4fa5bee4e25e" providerId="ADAL" clId="{D0D89DDA-32C7-4BCF-9FDB-702E0E0A3485}" dt="2023-06-20T08:17:52.675" v="5729"/>
          <ac:spMkLst>
            <pc:docMk/>
            <pc:sldMk cId="1108381004" sldId="1035"/>
            <ac:spMk id="75" creationId="{A48728F8-B6E1-4479-932C-EC93EFE1EF49}"/>
          </ac:spMkLst>
        </pc:spChg>
        <pc:spChg chg="mod">
          <ac:chgData name="Lars Eivind Haartveit" userId="9e58778f-4911-4aa2-bd3a-4fa5bee4e25e" providerId="ADAL" clId="{D0D89DDA-32C7-4BCF-9FDB-702E0E0A3485}" dt="2023-06-20T08:17:52.675" v="5730"/>
          <ac:spMkLst>
            <pc:docMk/>
            <pc:sldMk cId="1108381004" sldId="1035"/>
            <ac:spMk id="77" creationId="{BADAC00B-87B4-456E-A05A-6793B19877CE}"/>
          </ac:spMkLst>
        </pc:spChg>
        <pc:spChg chg="mod">
          <ac:chgData name="Lars Eivind Haartveit" userId="9e58778f-4911-4aa2-bd3a-4fa5bee4e25e" providerId="ADAL" clId="{D0D89DDA-32C7-4BCF-9FDB-702E0E0A3485}" dt="2023-06-20T08:17:52.686" v="5749"/>
          <ac:spMkLst>
            <pc:docMk/>
            <pc:sldMk cId="1108381004" sldId="1035"/>
            <ac:spMk id="79" creationId="{3F4C6ADD-C40C-46FF-B329-F1BFEF480AC2}"/>
          </ac:spMkLst>
        </pc:spChg>
        <pc:spChg chg="mod">
          <ac:chgData name="Lars Eivind Haartveit" userId="9e58778f-4911-4aa2-bd3a-4fa5bee4e25e" providerId="ADAL" clId="{D0D89DDA-32C7-4BCF-9FDB-702E0E0A3485}" dt="2023-06-20T08:17:52.687" v="5752"/>
          <ac:spMkLst>
            <pc:docMk/>
            <pc:sldMk cId="1108381004" sldId="1035"/>
            <ac:spMk id="81" creationId="{9C1E1728-5A15-4135-B0A9-5A5643DD3FCE}"/>
          </ac:spMkLst>
        </pc:spChg>
        <pc:spChg chg="mod ord">
          <ac:chgData name="Lars Eivind Haartveit" userId="9e58778f-4911-4aa2-bd3a-4fa5bee4e25e" providerId="ADAL" clId="{D0D89DDA-32C7-4BCF-9FDB-702E0E0A3485}" dt="2023-06-20T08:17:52.685" v="5748"/>
          <ac:spMkLst>
            <pc:docMk/>
            <pc:sldMk cId="1108381004" sldId="1035"/>
            <ac:spMk id="86" creationId="{AF743CA6-A5C3-4987-BA9D-05A528507784}"/>
          </ac:spMkLst>
        </pc:spChg>
        <pc:spChg chg="mod ord">
          <ac:chgData name="Lars Eivind Haartveit" userId="9e58778f-4911-4aa2-bd3a-4fa5bee4e25e" providerId="ADAL" clId="{D0D89DDA-32C7-4BCF-9FDB-702E0E0A3485}" dt="2023-06-20T08:17:52.687" v="5751"/>
          <ac:spMkLst>
            <pc:docMk/>
            <pc:sldMk cId="1108381004" sldId="1035"/>
            <ac:spMk id="87" creationId="{AF85F8D0-D11D-489D-9209-7EDAC76B79B9}"/>
          </ac:spMkLst>
        </pc:spChg>
        <pc:spChg chg="mod ord">
          <ac:chgData name="Lars Eivind Haartveit" userId="9e58778f-4911-4aa2-bd3a-4fa5bee4e25e" providerId="ADAL" clId="{D0D89DDA-32C7-4BCF-9FDB-702E0E0A3485}" dt="2023-06-20T08:17:52.682" v="5742"/>
          <ac:spMkLst>
            <pc:docMk/>
            <pc:sldMk cId="1108381004" sldId="1035"/>
            <ac:spMk id="94" creationId="{262DC6E7-E48C-48A2-AAD7-7B26B2EC3083}"/>
          </ac:spMkLst>
        </pc:spChg>
        <pc:spChg chg="mod ord">
          <ac:chgData name="Lars Eivind Haartveit" userId="9e58778f-4911-4aa2-bd3a-4fa5bee4e25e" providerId="ADAL" clId="{D0D89DDA-32C7-4BCF-9FDB-702E0E0A3485}" dt="2023-06-20T08:17:52.676" v="5734"/>
          <ac:spMkLst>
            <pc:docMk/>
            <pc:sldMk cId="1108381004" sldId="1035"/>
            <ac:spMk id="98" creationId="{4FEE2872-22BA-49AF-A537-EA254A52D6A3}"/>
          </ac:spMkLst>
        </pc:spChg>
        <pc:spChg chg="mod ord">
          <ac:chgData name="Lars Eivind Haartveit" userId="9e58778f-4911-4aa2-bd3a-4fa5bee4e25e" providerId="ADAL" clId="{D0D89DDA-32C7-4BCF-9FDB-702E0E0A3485}" dt="2023-06-20T08:17:52.677" v="5736"/>
          <ac:spMkLst>
            <pc:docMk/>
            <pc:sldMk cId="1108381004" sldId="1035"/>
            <ac:spMk id="143" creationId="{6BE6F3CB-E7B1-4611-B1F4-A6003FA0AC9C}"/>
          </ac:spMkLst>
        </pc:spChg>
        <pc:spChg chg="mod ord">
          <ac:chgData name="Lars Eivind Haartveit" userId="9e58778f-4911-4aa2-bd3a-4fa5bee4e25e" providerId="ADAL" clId="{D0D89DDA-32C7-4BCF-9FDB-702E0E0A3485}" dt="2023-06-20T08:17:52.684" v="5745"/>
          <ac:spMkLst>
            <pc:docMk/>
            <pc:sldMk cId="1108381004" sldId="1035"/>
            <ac:spMk id="176" creationId="{97E3FCA7-08F6-4C41-8064-C21079C04F96}"/>
          </ac:spMkLst>
        </pc:spChg>
        <pc:graphicFrameChg chg="mod">
          <ac:chgData name="Lars Eivind Haartveit" userId="9e58778f-4911-4aa2-bd3a-4fa5bee4e25e" providerId="ADAL" clId="{D0D89DDA-32C7-4BCF-9FDB-702E0E0A3485}" dt="2023-06-20T08:17:52.700" v="5766"/>
          <ac:graphicFrameMkLst>
            <pc:docMk/>
            <pc:sldMk cId="1108381004" sldId="1035"/>
            <ac:graphicFrameMk id="6" creationId="{C439758C-AAEE-400E-B8A2-59BF12B887FC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7:08:09.162" v="1226"/>
          <ac:graphicFrameMkLst>
            <pc:docMk/>
            <pc:sldMk cId="1108381004" sldId="1035"/>
            <ac:graphicFrameMk id="14" creationId="{1615E815-56D9-B96C-64CB-E01636A1DCF4}"/>
          </ac:graphicFrameMkLst>
        </pc:graphicFrameChg>
        <pc:graphicFrameChg chg="add mod ord replST">
          <ac:chgData name="Lars Eivind Haartveit" userId="9e58778f-4911-4aa2-bd3a-4fa5bee4e25e" providerId="ADAL" clId="{D0D89DDA-32C7-4BCF-9FDB-702E0E0A3485}" dt="2023-06-20T08:17:52.662" v="5694"/>
          <ac:graphicFrameMkLst>
            <pc:docMk/>
            <pc:sldMk cId="1108381004" sldId="1035"/>
            <ac:graphicFrameMk id="14" creationId="{184E6EA9-C103-3DAF-C933-B782955A9871}"/>
          </ac:graphicFrameMkLst>
        </pc:graphicFrameChg>
        <pc:graphicFrameChg chg="del">
          <ac:chgData name="Lars Eivind Haartveit" userId="9e58778f-4911-4aa2-bd3a-4fa5bee4e25e" providerId="ADAL" clId="{D0D89DDA-32C7-4BCF-9FDB-702E0E0A3485}" dt="2023-06-19T07:07:41.948" v="1012"/>
          <ac:graphicFrameMkLst>
            <pc:docMk/>
            <pc:sldMk cId="1108381004" sldId="1035"/>
            <ac:graphicFrameMk id="17" creationId="{676F0DD2-0C46-D741-9176-188E2AB2FA81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7:22:59.064" v="1426"/>
          <ac:graphicFrameMkLst>
            <pc:docMk/>
            <pc:sldMk cId="1108381004" sldId="1035"/>
            <ac:graphicFrameMk id="18" creationId="{93CEBC6D-D8D4-2B56-E076-065D0AD68676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7:37:34.185" v="1660"/>
          <ac:graphicFrameMkLst>
            <pc:docMk/>
            <pc:sldMk cId="1108381004" sldId="1035"/>
            <ac:graphicFrameMk id="23" creationId="{B8F1FAE6-1842-29CB-CB91-C046DACB1414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04:12.960" v="2091"/>
          <ac:graphicFrameMkLst>
            <pc:docMk/>
            <pc:sldMk cId="1108381004" sldId="1035"/>
            <ac:graphicFrameMk id="25" creationId="{1FD1EDF7-E037-4628-6839-AA3569A93737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11:05.900" v="2325"/>
          <ac:graphicFrameMkLst>
            <pc:docMk/>
            <pc:sldMk cId="1108381004" sldId="1035"/>
            <ac:graphicFrameMk id="31" creationId="{6419A569-1208-BA16-8790-C805B83AE389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17:59.591" v="2525"/>
          <ac:graphicFrameMkLst>
            <pc:docMk/>
            <pc:sldMk cId="1108381004" sldId="1035"/>
            <ac:graphicFrameMk id="33" creationId="{0623E82F-8F30-3B37-458A-424428576A05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26:14.826" v="2733"/>
          <ac:graphicFrameMkLst>
            <pc:docMk/>
            <pc:sldMk cId="1108381004" sldId="1035"/>
            <ac:graphicFrameMk id="35" creationId="{035CF0F6-5A36-BC2B-AAA3-26C9CB0D2FDE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36:46.762" v="2967"/>
          <ac:graphicFrameMkLst>
            <pc:docMk/>
            <pc:sldMk cId="1108381004" sldId="1035"/>
            <ac:graphicFrameMk id="42" creationId="{B1A4AB88-2F01-78FE-099F-4BE31C10AE1D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36:58.407" v="3167"/>
          <ac:graphicFrameMkLst>
            <pc:docMk/>
            <pc:sldMk cId="1108381004" sldId="1035"/>
            <ac:graphicFrameMk id="44" creationId="{ECBC874F-73D6-09C3-F72D-5BB3E5042F6E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43:53.141" v="3405"/>
          <ac:graphicFrameMkLst>
            <pc:docMk/>
            <pc:sldMk cId="1108381004" sldId="1035"/>
            <ac:graphicFrameMk id="46" creationId="{15207E02-0E9A-30EF-FE7A-C6AEE7B1C97C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8:45:47.314" v="3767"/>
          <ac:graphicFrameMkLst>
            <pc:docMk/>
            <pc:sldMk cId="1108381004" sldId="1035"/>
            <ac:graphicFrameMk id="50" creationId="{D73448A3-DAA1-6AFD-F089-0CC23D83D506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19T09:14:49.998" v="4737"/>
          <ac:graphicFrameMkLst>
            <pc:docMk/>
            <pc:sldMk cId="1108381004" sldId="1035"/>
            <ac:graphicFrameMk id="52" creationId="{81192BDD-98EE-7421-67D3-D2089B5C7ADE}"/>
          </ac:graphicFrameMkLst>
        </pc:graphicFrameChg>
        <pc:graphicFrameChg chg="add del mod ord replST">
          <ac:chgData name="Lars Eivind Haartveit" userId="9e58778f-4911-4aa2-bd3a-4fa5bee4e25e" providerId="ADAL" clId="{D0D89DDA-32C7-4BCF-9FDB-702E0E0A3485}" dt="2023-06-20T08:17:52.631" v="5658"/>
          <ac:graphicFrameMkLst>
            <pc:docMk/>
            <pc:sldMk cId="1108381004" sldId="1035"/>
            <ac:graphicFrameMk id="55" creationId="{53B44B8D-93B1-53CB-C055-ECC2448FAE71}"/>
          </ac:graphicFrameMkLst>
        </pc:graphicFrameChg>
        <pc:cxnChg chg="mod ord">
          <ac:chgData name="Lars Eivind Haartveit" userId="9e58778f-4911-4aa2-bd3a-4fa5bee4e25e" providerId="ADAL" clId="{D0D89DDA-32C7-4BCF-9FDB-702E0E0A3485}" dt="2023-06-20T08:17:52.672" v="5727"/>
          <ac:cxnSpMkLst>
            <pc:docMk/>
            <pc:sldMk cId="1108381004" sldId="1035"/>
            <ac:cxnSpMk id="19" creationId="{7FD1E19C-1EA8-D33B-9497-9C5FD580622B}"/>
          </ac:cxnSpMkLst>
        </pc:cxnChg>
        <pc:cxnChg chg="mod ord">
          <ac:chgData name="Lars Eivind Haartveit" userId="9e58778f-4911-4aa2-bd3a-4fa5bee4e25e" providerId="ADAL" clId="{D0D89DDA-32C7-4BCF-9FDB-702E0E0A3485}" dt="2023-06-20T08:17:52.669" v="5715"/>
          <ac:cxnSpMkLst>
            <pc:docMk/>
            <pc:sldMk cId="1108381004" sldId="1035"/>
            <ac:cxnSpMk id="27" creationId="{33AD84FE-A04F-47D1-BF9D-0B775FC8CF7A}"/>
          </ac:cxnSpMkLst>
        </pc:cxnChg>
        <pc:cxnChg chg="mod ord">
          <ac:chgData name="Lars Eivind Haartveit" userId="9e58778f-4911-4aa2-bd3a-4fa5bee4e25e" providerId="ADAL" clId="{D0D89DDA-32C7-4BCF-9FDB-702E0E0A3485}" dt="2023-06-20T08:17:52.660" v="5682"/>
          <ac:cxnSpMkLst>
            <pc:docMk/>
            <pc:sldMk cId="1108381004" sldId="1035"/>
            <ac:cxnSpMk id="28" creationId="{61E1241C-DB41-CF07-B16B-6C61F2E451E9}"/>
          </ac:cxnSpMkLst>
        </pc:cxnChg>
        <pc:cxnChg chg="mod ord">
          <ac:chgData name="Lars Eivind Haartveit" userId="9e58778f-4911-4aa2-bd3a-4fa5bee4e25e" providerId="ADAL" clId="{D0D89DDA-32C7-4BCF-9FDB-702E0E0A3485}" dt="2023-06-20T08:17:52.669" v="5717"/>
          <ac:cxnSpMkLst>
            <pc:docMk/>
            <pc:sldMk cId="1108381004" sldId="1035"/>
            <ac:cxnSpMk id="30" creationId="{1B969C0A-0F12-93E5-65E3-FE0B8A5B158E}"/>
          </ac:cxnSpMkLst>
        </pc:cxnChg>
        <pc:cxnChg chg="del mod ord">
          <ac:chgData name="Lars Eivind Haartveit" userId="9e58778f-4911-4aa2-bd3a-4fa5bee4e25e" providerId="ADAL" clId="{D0D89DDA-32C7-4BCF-9FDB-702E0E0A3485}" dt="2023-06-19T08:43:53.128" v="3397"/>
          <ac:cxnSpMkLst>
            <pc:docMk/>
            <pc:sldMk cId="1108381004" sldId="1035"/>
            <ac:cxnSpMk id="48" creationId="{1DBCBE64-A096-4D12-9E17-3F9F9FE1FF99}"/>
          </ac:cxnSpMkLst>
        </pc:cxnChg>
        <pc:cxnChg chg="mod ord">
          <ac:chgData name="Lars Eivind Haartveit" userId="9e58778f-4911-4aa2-bd3a-4fa5bee4e25e" providerId="ADAL" clId="{D0D89DDA-32C7-4BCF-9FDB-702E0E0A3485}" dt="2023-06-20T08:17:52.661" v="5688"/>
          <ac:cxnSpMkLst>
            <pc:docMk/>
            <pc:sldMk cId="1108381004" sldId="1035"/>
            <ac:cxnSpMk id="72" creationId="{3B50E700-4930-B6FF-A656-564F667C5493}"/>
          </ac:cxnSpMkLst>
        </pc:cxnChg>
        <pc:cxnChg chg="mod ord">
          <ac:chgData name="Lars Eivind Haartveit" userId="9e58778f-4911-4aa2-bd3a-4fa5bee4e25e" providerId="ADAL" clId="{D0D89DDA-32C7-4BCF-9FDB-702E0E0A3485}" dt="2023-06-20T08:17:52.661" v="5690"/>
          <ac:cxnSpMkLst>
            <pc:docMk/>
            <pc:sldMk cId="1108381004" sldId="1035"/>
            <ac:cxnSpMk id="74" creationId="{DFB5509F-74BB-4131-BA88-887367024951}"/>
          </ac:cxnSpMkLst>
        </pc:cxnChg>
        <pc:cxnChg chg="mod ord">
          <ac:chgData name="Lars Eivind Haartveit" userId="9e58778f-4911-4aa2-bd3a-4fa5bee4e25e" providerId="ADAL" clId="{D0D89DDA-32C7-4BCF-9FDB-702E0E0A3485}" dt="2023-06-20T08:17:52.658" v="5676"/>
          <ac:cxnSpMkLst>
            <pc:docMk/>
            <pc:sldMk cId="1108381004" sldId="1035"/>
            <ac:cxnSpMk id="76" creationId="{43812725-292F-DB46-BF3E-5E54CAD6CCA1}"/>
          </ac:cxnSpMkLst>
        </pc:cxnChg>
        <pc:cxnChg chg="mod ord">
          <ac:chgData name="Lars Eivind Haartveit" userId="9e58778f-4911-4aa2-bd3a-4fa5bee4e25e" providerId="ADAL" clId="{D0D89DDA-32C7-4BCF-9FDB-702E0E0A3485}" dt="2023-06-20T08:17:52.660" v="5684"/>
          <ac:cxnSpMkLst>
            <pc:docMk/>
            <pc:sldMk cId="1108381004" sldId="1035"/>
            <ac:cxnSpMk id="78" creationId="{03C665F4-D145-D788-69C1-3C7EBE5C1C1A}"/>
          </ac:cxnSpMkLst>
        </pc:cxnChg>
        <pc:cxnChg chg="mod ord">
          <ac:chgData name="Lars Eivind Haartveit" userId="9e58778f-4911-4aa2-bd3a-4fa5bee4e25e" providerId="ADAL" clId="{D0D89DDA-32C7-4BCF-9FDB-702E0E0A3485}" dt="2023-06-20T08:17:52.658" v="5674"/>
          <ac:cxnSpMkLst>
            <pc:docMk/>
            <pc:sldMk cId="1108381004" sldId="1035"/>
            <ac:cxnSpMk id="80" creationId="{971E8E80-4A7F-2554-B981-020B325D7E79}"/>
          </ac:cxnSpMkLst>
        </pc:cxnChg>
        <pc:cxnChg chg="mod ord">
          <ac:chgData name="Lars Eivind Haartveit" userId="9e58778f-4911-4aa2-bd3a-4fa5bee4e25e" providerId="ADAL" clId="{D0D89DDA-32C7-4BCF-9FDB-702E0E0A3485}" dt="2023-06-20T08:17:52.657" v="5672"/>
          <ac:cxnSpMkLst>
            <pc:docMk/>
            <pc:sldMk cId="1108381004" sldId="1035"/>
            <ac:cxnSpMk id="82" creationId="{B722F6D2-B9FE-197E-2F58-E7F3D7B4559A}"/>
          </ac:cxnSpMkLst>
        </pc:cxnChg>
        <pc:cxnChg chg="mod ord">
          <ac:chgData name="Lars Eivind Haartveit" userId="9e58778f-4911-4aa2-bd3a-4fa5bee4e25e" providerId="ADAL" clId="{D0D89DDA-32C7-4BCF-9FDB-702E0E0A3485}" dt="2023-06-20T08:17:52.659" v="5680"/>
          <ac:cxnSpMkLst>
            <pc:docMk/>
            <pc:sldMk cId="1108381004" sldId="1035"/>
            <ac:cxnSpMk id="83" creationId="{834E0CE0-1718-C7B2-C3E0-90B723980A83}"/>
          </ac:cxnSpMkLst>
        </pc:cxnChg>
        <pc:cxnChg chg="mod ord">
          <ac:chgData name="Lars Eivind Haartveit" userId="9e58778f-4911-4aa2-bd3a-4fa5bee4e25e" providerId="ADAL" clId="{D0D89DDA-32C7-4BCF-9FDB-702E0E0A3485}" dt="2023-06-20T08:17:52.662" v="5692"/>
          <ac:cxnSpMkLst>
            <pc:docMk/>
            <pc:sldMk cId="1108381004" sldId="1035"/>
            <ac:cxnSpMk id="84" creationId="{1E54F315-E278-F09F-FAFD-B622698CFB5A}"/>
          </ac:cxnSpMkLst>
        </pc:cxnChg>
        <pc:cxnChg chg="mod ord">
          <ac:chgData name="Lars Eivind Haartveit" userId="9e58778f-4911-4aa2-bd3a-4fa5bee4e25e" providerId="ADAL" clId="{D0D89DDA-32C7-4BCF-9FDB-702E0E0A3485}" dt="2023-06-20T08:17:52.671" v="5721"/>
          <ac:cxnSpMkLst>
            <pc:docMk/>
            <pc:sldMk cId="1108381004" sldId="1035"/>
            <ac:cxnSpMk id="85" creationId="{58C25968-D239-3437-1C87-524B60F308C1}"/>
          </ac:cxnSpMkLst>
        </pc:cxnChg>
        <pc:cxnChg chg="mod ord">
          <ac:chgData name="Lars Eivind Haartveit" userId="9e58778f-4911-4aa2-bd3a-4fa5bee4e25e" providerId="ADAL" clId="{D0D89DDA-32C7-4BCF-9FDB-702E0E0A3485}" dt="2023-06-20T08:17:52.670" v="5719"/>
          <ac:cxnSpMkLst>
            <pc:docMk/>
            <pc:sldMk cId="1108381004" sldId="1035"/>
            <ac:cxnSpMk id="96" creationId="{3A580218-C36A-82E6-6341-C47A7B12F37C}"/>
          </ac:cxnSpMkLst>
        </pc:cxnChg>
        <pc:cxnChg chg="mod ord">
          <ac:chgData name="Lars Eivind Haartveit" userId="9e58778f-4911-4aa2-bd3a-4fa5bee4e25e" providerId="ADAL" clId="{D0D89DDA-32C7-4BCF-9FDB-702E0E0A3485}" dt="2023-06-20T08:17:52.668" v="5713"/>
          <ac:cxnSpMkLst>
            <pc:docMk/>
            <pc:sldMk cId="1108381004" sldId="1035"/>
            <ac:cxnSpMk id="104" creationId="{B3236DDC-0A05-67E4-F2B3-BC1FD4CC4B88}"/>
          </ac:cxnSpMkLst>
        </pc:cxnChg>
        <pc:cxnChg chg="mod ord">
          <ac:chgData name="Lars Eivind Haartveit" userId="9e58778f-4911-4aa2-bd3a-4fa5bee4e25e" providerId="ADAL" clId="{D0D89DDA-32C7-4BCF-9FDB-702E0E0A3485}" dt="2023-06-20T08:17:52.660" v="5686"/>
          <ac:cxnSpMkLst>
            <pc:docMk/>
            <pc:sldMk cId="1108381004" sldId="1035"/>
            <ac:cxnSpMk id="136" creationId="{18660C74-E684-59E5-F2B2-4AE5790711E6}"/>
          </ac:cxnSpMkLst>
        </pc:cxnChg>
        <pc:cxnChg chg="mod ord">
          <ac:chgData name="Lars Eivind Haartveit" userId="9e58778f-4911-4aa2-bd3a-4fa5bee4e25e" providerId="ADAL" clId="{D0D89DDA-32C7-4BCF-9FDB-702E0E0A3485}" dt="2023-06-20T08:17:52.659" v="5678"/>
          <ac:cxnSpMkLst>
            <pc:docMk/>
            <pc:sldMk cId="1108381004" sldId="1035"/>
            <ac:cxnSpMk id="137" creationId="{E5BD06DF-596D-2AA2-3C87-EA30470ECFCE}"/>
          </ac:cxnSpMkLst>
        </pc:cxnChg>
        <pc:cxnChg chg="mod ord">
          <ac:chgData name="Lars Eivind Haartveit" userId="9e58778f-4911-4aa2-bd3a-4fa5bee4e25e" providerId="ADAL" clId="{D0D89DDA-32C7-4BCF-9FDB-702E0E0A3485}" dt="2023-06-20T08:17:52.672" v="5725"/>
          <ac:cxnSpMkLst>
            <pc:docMk/>
            <pc:sldMk cId="1108381004" sldId="1035"/>
            <ac:cxnSpMk id="147" creationId="{BDEA3543-D005-4E35-B9AB-288A1254EF07}"/>
          </ac:cxnSpMkLst>
        </pc:cxnChg>
        <pc:cxnChg chg="mod ord">
          <ac:chgData name="Lars Eivind Haartveit" userId="9e58778f-4911-4aa2-bd3a-4fa5bee4e25e" providerId="ADAL" clId="{D0D89DDA-32C7-4BCF-9FDB-702E0E0A3485}" dt="2023-06-20T08:17:52.671" v="5723"/>
          <ac:cxnSpMkLst>
            <pc:docMk/>
            <pc:sldMk cId="1108381004" sldId="1035"/>
            <ac:cxnSpMk id="153" creationId="{0C230261-2133-45FD-95C1-ACD8CE610795}"/>
          </ac:cxnSpMkLst>
        </pc:cxnChg>
      </pc:sldChg>
      <pc:sldChg chg="addSp delSp modSp add mod">
        <pc:chgData name="Lars Eivind Haartveit" userId="9e58778f-4911-4aa2-bd3a-4fa5bee4e25e" providerId="ADAL" clId="{D0D89DDA-32C7-4BCF-9FDB-702E0E0A3485}" dt="2023-06-20T09:05:35.021" v="5929" actId="6549"/>
        <pc:sldMkLst>
          <pc:docMk/>
          <pc:sldMk cId="1282255389" sldId="1038"/>
        </pc:sldMkLst>
        <pc:spChg chg="mod">
          <ac:chgData name="Lars Eivind Haartveit" userId="9e58778f-4911-4aa2-bd3a-4fa5bee4e25e" providerId="ADAL" clId="{D0D89DDA-32C7-4BCF-9FDB-702E0E0A3485}" dt="2023-06-20T09:05:35.021" v="5929" actId="6549"/>
          <ac:spMkLst>
            <pc:docMk/>
            <pc:sldMk cId="1282255389" sldId="1038"/>
            <ac:spMk id="2" creationId="{DF53C19F-0CE1-A828-64AE-E7486686DCC1}"/>
          </ac:spMkLst>
        </pc:spChg>
        <pc:spChg chg="mod">
          <ac:chgData name="Lars Eivind Haartveit" userId="9e58778f-4911-4aa2-bd3a-4fa5bee4e25e" providerId="ADAL" clId="{D0D89DDA-32C7-4BCF-9FDB-702E0E0A3485}" dt="2023-06-20T07:17:32.220" v="5239" actId="948"/>
          <ac:spMkLst>
            <pc:docMk/>
            <pc:sldMk cId="1282255389" sldId="1038"/>
            <ac:spMk id="3" creationId="{B977C944-2F17-55CD-74C5-2B1858180B23}"/>
          </ac:spMkLst>
        </pc:spChg>
        <pc:spChg chg="add del mod modVis">
          <ac:chgData name="Lars Eivind Haartveit" userId="9e58778f-4911-4aa2-bd3a-4fa5bee4e25e" providerId="ADAL" clId="{D0D89DDA-32C7-4BCF-9FDB-702E0E0A3485}" dt="2023-06-20T06:05:39.329" v="4955"/>
          <ac:spMkLst>
            <pc:docMk/>
            <pc:sldMk cId="1282255389" sldId="1038"/>
            <ac:spMk id="5" creationId="{71F8E52B-6D27-1154-CFD7-AA1CD12A9933}"/>
          </ac:spMkLst>
        </pc:spChg>
        <pc:spChg chg="add del mod modVis">
          <ac:chgData name="Lars Eivind Haartveit" userId="9e58778f-4911-4aa2-bd3a-4fa5bee4e25e" providerId="ADAL" clId="{D0D89DDA-32C7-4BCF-9FDB-702E0E0A3485}" dt="2023-06-19T07:49:41.800" v="1903"/>
          <ac:spMkLst>
            <pc:docMk/>
            <pc:sldMk cId="1282255389" sldId="1038"/>
            <ac:spMk id="5" creationId="{F97DC6E3-A499-CED5-353E-36F91E3F7F1B}"/>
          </ac:spMkLst>
        </pc:spChg>
        <pc:spChg chg="add del mod modVis">
          <ac:chgData name="Lars Eivind Haartveit" userId="9e58778f-4911-4aa2-bd3a-4fa5bee4e25e" providerId="ADAL" clId="{D0D89DDA-32C7-4BCF-9FDB-702E0E0A3485}" dt="2023-06-19T07:49:43.325" v="1948"/>
          <ac:spMkLst>
            <pc:docMk/>
            <pc:sldMk cId="1282255389" sldId="1038"/>
            <ac:spMk id="7" creationId="{8C582EDD-53CE-6C0A-9C42-9EF02B06746C}"/>
          </ac:spMkLst>
        </pc:spChg>
        <pc:spChg chg="add del mod modVis">
          <ac:chgData name="Lars Eivind Haartveit" userId="9e58778f-4911-4aa2-bd3a-4fa5bee4e25e" providerId="ADAL" clId="{D0D89DDA-32C7-4BCF-9FDB-702E0E0A3485}" dt="2023-06-20T06:05:39.946" v="5000"/>
          <ac:spMkLst>
            <pc:docMk/>
            <pc:sldMk cId="1282255389" sldId="1038"/>
            <ac:spMk id="7" creationId="{D3B8784A-3BA0-32A2-D39B-8B5E2B9E8795}"/>
          </ac:spMkLst>
        </pc:spChg>
        <pc:spChg chg="add del mod modVis">
          <ac:chgData name="Lars Eivind Haartveit" userId="9e58778f-4911-4aa2-bd3a-4fa5bee4e25e" providerId="ADAL" clId="{D0D89DDA-32C7-4BCF-9FDB-702E0E0A3485}" dt="2023-06-20T06:05:41.871" v="5046"/>
          <ac:spMkLst>
            <pc:docMk/>
            <pc:sldMk cId="1282255389" sldId="1038"/>
            <ac:spMk id="8" creationId="{3175AC9E-405A-D34B-1427-8ADDACA56F3C}"/>
          </ac:spMkLst>
        </pc:spChg>
        <pc:spChg chg="add del mod modVis">
          <ac:chgData name="Lars Eivind Haartveit" userId="9e58778f-4911-4aa2-bd3a-4fa5bee4e25e" providerId="ADAL" clId="{D0D89DDA-32C7-4BCF-9FDB-702E0E0A3485}" dt="2023-06-19T07:49:45.347" v="1999"/>
          <ac:spMkLst>
            <pc:docMk/>
            <pc:sldMk cId="1282255389" sldId="1038"/>
            <ac:spMk id="8" creationId="{3DE3FE2E-55AB-F261-4C19-1BD5F334FAAE}"/>
          </ac:spMkLst>
        </pc:spChg>
        <pc:spChg chg="add del mod modVis">
          <ac:chgData name="Lars Eivind Haartveit" userId="9e58778f-4911-4aa2-bd3a-4fa5bee4e25e" providerId="ADAL" clId="{D0D89DDA-32C7-4BCF-9FDB-702E0E0A3485}" dt="2023-06-20T06:05:45.245" v="5095"/>
          <ac:spMkLst>
            <pc:docMk/>
            <pc:sldMk cId="1282255389" sldId="1038"/>
            <ac:spMk id="9" creationId="{00832E78-2926-07E9-AA97-873829E0D93A}"/>
          </ac:spMkLst>
        </pc:spChg>
        <pc:spChg chg="add del mod modVis">
          <ac:chgData name="Lars Eivind Haartveit" userId="9e58778f-4911-4aa2-bd3a-4fa5bee4e25e" providerId="ADAL" clId="{D0D89DDA-32C7-4BCF-9FDB-702E0E0A3485}" dt="2023-06-20T06:05:46.788" v="5141"/>
          <ac:spMkLst>
            <pc:docMk/>
            <pc:sldMk cId="1282255389" sldId="1038"/>
            <ac:spMk id="10" creationId="{32DF7071-FC2B-B018-9836-076E719B52F4}"/>
          </ac:spMkLst>
        </pc:spChg>
        <pc:spChg chg="add del mod modVis">
          <ac:chgData name="Lars Eivind Haartveit" userId="9e58778f-4911-4aa2-bd3a-4fa5bee4e25e" providerId="ADAL" clId="{D0D89DDA-32C7-4BCF-9FDB-702E0E0A3485}" dt="2023-06-20T07:17:31.706" v="5235"/>
          <ac:spMkLst>
            <pc:docMk/>
            <pc:sldMk cId="1282255389" sldId="1038"/>
            <ac:spMk id="11" creationId="{ECD696D8-C5CD-3722-BF23-B37C664E4CF1}"/>
          </ac:spMkLst>
        </pc:spChg>
        <pc:spChg chg="add del mod modVis">
          <ac:chgData name="Lars Eivind Haartveit" userId="9e58778f-4911-4aa2-bd3a-4fa5bee4e25e" providerId="ADAL" clId="{D0D89DDA-32C7-4BCF-9FDB-702E0E0A3485}" dt="2023-06-20T07:17:32.270" v="5280"/>
          <ac:spMkLst>
            <pc:docMk/>
            <pc:sldMk cId="1282255389" sldId="1038"/>
            <ac:spMk id="12" creationId="{BC55BA08-D32F-FAB0-90F7-EE086921AB78}"/>
          </ac:spMkLst>
        </pc:spChg>
        <pc:graphicFrameChg chg="mod">
          <ac:chgData name="Lars Eivind Haartveit" userId="9e58778f-4911-4aa2-bd3a-4fa5bee4e25e" providerId="ADAL" clId="{D0D89DDA-32C7-4BCF-9FDB-702E0E0A3485}" dt="2023-06-20T08:37:09.716" v="5794"/>
          <ac:graphicFrameMkLst>
            <pc:docMk/>
            <pc:sldMk cId="1282255389" sldId="1038"/>
            <ac:graphicFrameMk id="4" creationId="{7A129280-A52C-5EEA-9309-FBEA2C7A076E}"/>
          </ac:graphicFrameMkLst>
        </pc:graphicFrameChg>
        <pc:graphicFrameChg chg="mod">
          <ac:chgData name="Lars Eivind Haartveit" userId="9e58778f-4911-4aa2-bd3a-4fa5bee4e25e" providerId="ADAL" clId="{D0D89DDA-32C7-4BCF-9FDB-702E0E0A3485}" dt="2023-06-20T07:17:32.278" v="5282"/>
          <ac:graphicFrameMkLst>
            <pc:docMk/>
            <pc:sldMk cId="1282255389" sldId="1038"/>
            <ac:graphicFrameMk id="6" creationId="{B57EB77E-F63A-2F35-75A3-EFA94ADD7516}"/>
          </ac:graphicFrameMkLst>
        </pc:graphicFrameChg>
      </pc:sldChg>
      <pc:sldMasterChg chg="delSldLayout">
        <pc:chgData name="Lars Eivind Haartveit" userId="9e58778f-4911-4aa2-bd3a-4fa5bee4e25e" providerId="ADAL" clId="{D0D89DDA-32C7-4BCF-9FDB-702E0E0A3485}" dt="2023-06-19T06:18:33.241" v="527" actId="47"/>
        <pc:sldMasterMkLst>
          <pc:docMk/>
          <pc:sldMasterMk cId="1714647268" sldId="2147483660"/>
        </pc:sldMasterMkLst>
        <pc:sldLayoutChg chg="del">
          <pc:chgData name="Lars Eivind Haartveit" userId="9e58778f-4911-4aa2-bd3a-4fa5bee4e25e" providerId="ADAL" clId="{D0D89DDA-32C7-4BCF-9FDB-702E0E0A3485}" dt="2023-06-19T06:18:33.241" v="527" actId="47"/>
          <pc:sldLayoutMkLst>
            <pc:docMk/>
            <pc:sldMasterMk cId="1714647268" sldId="2147483660"/>
            <pc:sldLayoutMk cId="286914530" sldId="2147483745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6342451874366769E-2"/>
          <c:y val="1.8617973505191551E-2"/>
          <c:w val="0.94731509625126642"/>
          <c:h val="0.96276405298961687"/>
        </c:manualLayout>
      </c:layout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I$1</c:f>
              <c:numCache>
                <c:formatCode>General</c:formatCode>
                <c:ptCount val="9"/>
                <c:pt idx="0">
                  <c:v>2</c:v>
                </c:pt>
                <c:pt idx="1">
                  <c:v>5</c:v>
                </c:pt>
                <c:pt idx="2">
                  <c:v>-5</c:v>
                </c:pt>
                <c:pt idx="3">
                  <c:v>1</c:v>
                </c:pt>
                <c:pt idx="4">
                  <c:v>-4</c:v>
                </c:pt>
                <c:pt idx="5">
                  <c:v>-2</c:v>
                </c:pt>
                <c:pt idx="6">
                  <c:v>-2</c:v>
                </c:pt>
                <c:pt idx="7">
                  <c:v>0</c:v>
                </c:pt>
                <c:pt idx="8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144-4DBC-9441-641FC861FE32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I$2</c:f>
              <c:numCache>
                <c:formatCode>General</c:formatCode>
                <c:ptCount val="9"/>
                <c:pt idx="0">
                  <c:v>1</c:v>
                </c:pt>
                <c:pt idx="1">
                  <c:v>-2.4</c:v>
                </c:pt>
                <c:pt idx="2">
                  <c:v>-6</c:v>
                </c:pt>
                <c:pt idx="3">
                  <c:v>11</c:v>
                </c:pt>
                <c:pt idx="4">
                  <c:v>2</c:v>
                </c:pt>
                <c:pt idx="5">
                  <c:v>5</c:v>
                </c:pt>
                <c:pt idx="6">
                  <c:v>-2</c:v>
                </c:pt>
                <c:pt idx="7">
                  <c:v>-2</c:v>
                </c:pt>
                <c:pt idx="8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144-4DBC-9441-641FC861FE32}"/>
            </c:ext>
          </c:extLst>
        </c:ser>
        <c:ser>
          <c:idx val="2"/>
          <c:order val="2"/>
          <c:spPr>
            <a:solidFill>
              <a:schemeClr val="accent6"/>
            </a:solidFill>
            <a:ln>
              <a:noFill/>
            </a:ln>
          </c:spPr>
          <c:invertIfNegative val="0"/>
          <c:val>
            <c:numRef>
              <c:f>Sheet1!$A$3:$I$3</c:f>
              <c:numCache>
                <c:formatCode>General</c:formatCode>
                <c:ptCount val="9"/>
                <c:pt idx="0">
                  <c:v>4.3</c:v>
                </c:pt>
                <c:pt idx="1">
                  <c:v>-0.1</c:v>
                </c:pt>
                <c:pt idx="2">
                  <c:v>0.3</c:v>
                </c:pt>
                <c:pt idx="3">
                  <c:v>8</c:v>
                </c:pt>
                <c:pt idx="4">
                  <c:v>-0.8</c:v>
                </c:pt>
                <c:pt idx="5">
                  <c:v>15.59529569892473</c:v>
                </c:pt>
                <c:pt idx="6">
                  <c:v>-2</c:v>
                </c:pt>
                <c:pt idx="7">
                  <c:v>4.7</c:v>
                </c:pt>
                <c:pt idx="8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144-4DBC-9441-641FC861FE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554213136"/>
        <c:axId val="1"/>
      </c:barChart>
      <c:catAx>
        <c:axId val="554213136"/>
        <c:scaling>
          <c:orientation val="maxMin"/>
        </c:scaling>
        <c:delete val="0"/>
        <c:axPos val="l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At val="0"/>
        <c:auto val="0"/>
        <c:lblAlgn val="ctr"/>
        <c:lblOffset val="100"/>
        <c:noMultiLvlLbl val="0"/>
      </c:catAx>
      <c:valAx>
        <c:axId val="1"/>
        <c:scaling>
          <c:orientation val="minMax"/>
          <c:max val="16.495295698924728"/>
          <c:min val="-6"/>
        </c:scaling>
        <c:delete val="0"/>
        <c:axPos val="t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554213136"/>
        <c:crosses val="min"/>
        <c:crossBetween val="between"/>
        <c:majorUnit val="2"/>
      </c:valAx>
    </c:plotArea>
    <c:plotVisOnly val="0"/>
    <c:dispBlanksAs val="gap"/>
    <c:showDLblsOverMax val="1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EA36BF4-3AD0-492B-89D7-FC19EADFB81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C625EE-1BB0-416C-8D62-CFAC2CFC62F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AFC9CE7-9C6B-4632-BE61-BD5486EF59CD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087B59A-A2BF-4230-9B56-CC0FC11CB2E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2EFC33-A228-4A65-BC27-E0E87ABF301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716330-BD74-4EF9-905E-0D11DEB4017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887819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A3CC92-7696-4E55-8C0D-D0C601576C76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F688E2-B01A-4D43-96C2-FE54AD4330B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3456524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6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26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19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252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31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378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440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504" algn="l" defTabSz="91412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2819C-1958-0F48-B197-9B5959EA6DD4}" type="slidenum">
              <a:rPr lang="nb-NO" smtClean="0"/>
              <a:pPr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8690085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E62819C-1958-0F48-B197-9B5959EA6DD4}" type="slidenum">
              <a:rPr lang="nb-NO" smtClean="0"/>
              <a:pPr/>
              <a:t>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9301106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7" Type="http://schemas.openxmlformats.org/officeDocument/2006/relationships/image" Target="../media/image8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7" Type="http://schemas.openxmlformats.org/officeDocument/2006/relationships/image" Target="../media/image8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10.svg"/><Relationship Id="rId4" Type="http://schemas.openxmlformats.org/officeDocument/2006/relationships/image" Target="../media/image5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med animer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200109_Virke_Logo_PresentationNY">
            <a:hlinkClick r:id="" action="ppaction://media"/>
            <a:extLst>
              <a:ext uri="{FF2B5EF4-FFF2-40B4-BE49-F238E27FC236}">
                <a16:creationId xmlns:a16="http://schemas.microsoft.com/office/drawing/2014/main" id="{F955521E-9BDB-41E8-AD44-39CBA9CA289E}"/>
              </a:ext>
            </a:extLst>
          </p:cNvPr>
          <p:cNvPicPr>
            <a:picLocks noChangeAspect="1"/>
          </p:cNvPicPr>
          <p:nvPr userDrawn="1"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-1"/>
            <a:ext cx="12192000" cy="6858001"/>
          </a:xfrm>
          <a:prstGeom prst="rect">
            <a:avLst/>
          </a:prstGeom>
        </p:spPr>
      </p:pic>
      <p:sp>
        <p:nvSpPr>
          <p:cNvPr id="22" name="Forretningsområde">
            <a:extLst>
              <a:ext uri="{FF2B5EF4-FFF2-40B4-BE49-F238E27FC236}">
                <a16:creationId xmlns:a16="http://schemas.microsoft.com/office/drawing/2014/main" id="{3BFECAA5-9692-4866-BB42-31C0C568A417}"/>
              </a:ext>
            </a:extLst>
          </p:cNvPr>
          <p:cNvSpPr txBox="1"/>
          <p:nvPr userDrawn="1"/>
        </p:nvSpPr>
        <p:spPr>
          <a:xfrm>
            <a:off x="6254798" y="208148"/>
            <a:ext cx="5340052" cy="327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525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77966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000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(h)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F9D4D81-ECFD-4936-AE69-2246130E77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851280" y="568391"/>
            <a:ext cx="7068183" cy="5419445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73634" y="568391"/>
            <a:ext cx="4577646" cy="5419445"/>
          </a:xfrm>
          <a:solidFill>
            <a:srgbClr val="F9CFE3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042CC47-3925-421D-B235-182BDDB86FBF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0C295C7A-E0DB-FB4F-9EAA-17B99EF98836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2364439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t innhold (h)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73634" y="568391"/>
            <a:ext cx="4577646" cy="5419445"/>
          </a:xfrm>
          <a:solidFill>
            <a:srgbClr val="F9CFE3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042CC47-3925-421D-B235-182BDDB86FBF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0C295C7A-E0DB-FB4F-9EAA-17B99EF98836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A1687C1-5F5F-4053-904F-327124948F8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51281" y="568391"/>
            <a:ext cx="7068183" cy="5419445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2082513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innhold (v) og tittel ut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6806132" y="330159"/>
            <a:ext cx="5114958" cy="6197683"/>
          </a:xfrm>
          <a:solidFill>
            <a:schemeClr val="accent6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1EEB78C7-9B3D-45FE-B0F8-2DF20466635A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32DDF-144A-4EA3-BA84-A2FC098D8D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73634" y="330159"/>
            <a:ext cx="6532498" cy="6197682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406831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tort innhold (v) og tittel ut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1EEB78C7-9B3D-45FE-B0F8-2DF20466635A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AB32DDF-144A-4EA3-BA84-A2FC098D8D1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73634" y="330159"/>
            <a:ext cx="6532498" cy="6197682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F950C32-6A37-4DD8-8AF7-7D852B0E67D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805613" y="330200"/>
            <a:ext cx="5113337" cy="6197600"/>
          </a:xfrm>
          <a:solidFill>
            <a:schemeClr val="bg1"/>
          </a:solidFill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991774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og tittel uten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1">
            <a:extLst>
              <a:ext uri="{FF2B5EF4-FFF2-40B4-BE49-F238E27FC236}">
                <a16:creationId xmlns:a16="http://schemas.microsoft.com/office/drawing/2014/main" id="{DF4F0246-F930-46AF-9BCF-B7BE130F4FC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273634" y="330159"/>
            <a:ext cx="11644732" cy="6197682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>
            <a:lvl1pPr>
              <a:buClrTx/>
              <a:defRPr/>
            </a:lvl1pPr>
          </a:lstStyle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723600" y="3092809"/>
            <a:ext cx="5372677" cy="2235459"/>
          </a:xfrm>
          <a:solidFill>
            <a:schemeClr val="accent6"/>
          </a:solidFill>
        </p:spPr>
        <p:txBody>
          <a:bodyPr lIns="180000" rIns="18000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8" name="addin_title" hidden="1">
            <a:extLst>
              <a:ext uri="{FF2B5EF4-FFF2-40B4-BE49-F238E27FC236}">
                <a16:creationId xmlns:a16="http://schemas.microsoft.com/office/drawing/2014/main" id="{07FDE15C-8122-4AB2-91AC-FBCFC4A840D8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9049706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414000"/>
            <a:ext cx="10792228" cy="1306570"/>
          </a:xfrm>
        </p:spPr>
        <p:txBody>
          <a:bodyPr anchor="ctr">
            <a:noAutofit/>
          </a:bodyPr>
          <a:lstStyle>
            <a:lvl1pPr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5547" y="190495"/>
            <a:ext cx="5336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F960D35D-9F4A-4BB2-8CC9-32AEEE54695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700088" y="2309813"/>
            <a:ext cx="10791824" cy="3621087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661996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0838" y="414000"/>
            <a:ext cx="10830323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DBF3599F-3E5E-4871-89DD-74B089D326F7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1038" y="2309813"/>
            <a:ext cx="10829924" cy="3463925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5223457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2 kolo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0838" y="414000"/>
            <a:ext cx="10830323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C049703-1F31-B042-8F0D-689841F117C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64263" y="2310475"/>
            <a:ext cx="5346700" cy="3463925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11A99C2-22C4-334D-972F-086E6AC1D9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81038" y="2310475"/>
            <a:ext cx="5346700" cy="3463925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</p:spTree>
    <p:extLst>
      <p:ext uri="{BB962C8B-B14F-4D97-AF65-F5344CB8AC3E}">
        <p14:creationId xmlns:p14="http://schemas.microsoft.com/office/powerpoint/2010/main" val="381522427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2 kolo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>
            <a:extLst>
              <a:ext uri="{FF2B5EF4-FFF2-40B4-BE49-F238E27FC236}">
                <a16:creationId xmlns:a16="http://schemas.microsoft.com/office/drawing/2014/main" id="{CEEDC331-1606-0C4E-8EB2-2C86119FD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80836" y="414000"/>
            <a:ext cx="5346701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ittel</a:t>
            </a:r>
            <a:endParaRPr lang="en-US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8E4F36C3-81C3-C540-BD3B-4E86AED2BD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63BE0911-0EC2-B54F-8170-DEE29FB6BE68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3BE5C88-05EB-450A-8811-74FD75956E5A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81038" y="2319338"/>
            <a:ext cx="5346499" cy="3454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DC1B0E7C-2617-4E12-ADB2-7FC01D317C3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096000" y="412750"/>
            <a:ext cx="5496080" cy="53604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416579474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, faktatekst  med bakgrunn">
    <p:bg>
      <p:bgPr>
        <a:solidFill>
          <a:srgbClr val="F9C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E61B279-F14E-4BFE-A4EB-BD131B126B6F}"/>
              </a:ext>
            </a:extLst>
          </p:cNvPr>
          <p:cNvSpPr/>
          <p:nvPr userDrawn="1"/>
        </p:nvSpPr>
        <p:spPr>
          <a:xfrm>
            <a:off x="0" y="1"/>
            <a:ext cx="12192000" cy="2291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D2AD0BAC-B31A-4C31-8A0A-2E8DFB75095E}"/>
              </a:ext>
            </a:extLst>
          </p:cNvPr>
          <p:cNvSpPr/>
          <p:nvPr userDrawn="1"/>
        </p:nvSpPr>
        <p:spPr>
          <a:xfrm>
            <a:off x="1" y="5982392"/>
            <a:ext cx="12192000" cy="875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11532A76-0428-4617-96BF-1DF14369A3FA}"/>
              </a:ext>
            </a:extLst>
          </p:cNvPr>
          <p:cNvSpPr/>
          <p:nvPr userDrawn="1"/>
        </p:nvSpPr>
        <p:spPr>
          <a:xfrm>
            <a:off x="3" y="0"/>
            <a:ext cx="260649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4D1DA322-FC63-41ED-B51D-FA24E3C93589}"/>
              </a:ext>
            </a:extLst>
          </p:cNvPr>
          <p:cNvSpPr/>
          <p:nvPr userDrawn="1"/>
        </p:nvSpPr>
        <p:spPr>
          <a:xfrm>
            <a:off x="11931350" y="1"/>
            <a:ext cx="26064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06455" y="401433"/>
            <a:ext cx="10804709" cy="1306570"/>
          </a:xfrm>
          <a:solidFill>
            <a:srgbClr val="FF0000">
              <a:alpha val="0"/>
            </a:srgbClr>
          </a:solidFill>
        </p:spPr>
        <p:txBody>
          <a:bodyPr anchor="ctr"/>
          <a:lstStyle>
            <a:lvl1pPr>
              <a:defRPr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0838" y="2310407"/>
            <a:ext cx="10804709" cy="2527382"/>
          </a:xfrm>
          <a:solidFill>
            <a:srgbClr val="FF0000">
              <a:alpha val="0"/>
            </a:srgbClr>
          </a:solidFill>
        </p:spPr>
        <p:txBody>
          <a:bodyPr/>
          <a:lstStyle>
            <a:lvl1pPr marL="216000" indent="-216000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1pPr>
            <a:lvl2pPr marL="685903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2pPr>
            <a:lvl3pPr marL="1143171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3pPr>
            <a:lvl4pPr marL="1600440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4pPr>
            <a:lvl5pPr marL="2057708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5pPr>
          </a:lstStyle>
          <a:p>
            <a:pPr lvl="0"/>
            <a:r>
              <a:rPr lang="nb-NO" dirty="0"/>
              <a:t>Klikk for å redigere tittel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4656" y="190495"/>
            <a:ext cx="5338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b="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78ABA7-5B0F-4E44-AFA7-C313216232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775" y="5010026"/>
            <a:ext cx="10804709" cy="669914"/>
          </a:xfrm>
          <a:solidFill>
            <a:srgbClr val="FF0000">
              <a:alpha val="0"/>
            </a:srgbClr>
          </a:solidFill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200">
                <a:latin typeface="+mn-lt"/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faktatekst</a:t>
            </a:r>
            <a:endParaRPr lang="en-GB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849CB8C-74B3-4B38-AC54-A8E58A80BFB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5934162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logo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976BEEE7-D85E-4005-8308-C83FA2A2671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42124" y="2261186"/>
            <a:ext cx="5249448" cy="17497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4547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, fakta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80838" y="414000"/>
            <a:ext cx="10830323" cy="1306570"/>
          </a:xfrm>
        </p:spPr>
        <p:txBody>
          <a:bodyPr anchor="ctr">
            <a:noAutofit/>
          </a:bodyPr>
          <a:lstStyle>
            <a:lvl1pPr>
              <a:lnSpc>
                <a:spcPts val="3301"/>
              </a:lnSpc>
              <a:defRPr sz="28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C3FAC5B-742C-5843-B957-C2C14D9F814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680838" y="2310407"/>
            <a:ext cx="10804709" cy="2527382"/>
          </a:xfrm>
          <a:solidFill>
            <a:srgbClr val="FF0000">
              <a:alpha val="0"/>
            </a:srgbClr>
          </a:solidFill>
        </p:spPr>
        <p:txBody>
          <a:bodyPr/>
          <a:lstStyle>
            <a:lvl1pPr marL="216000" indent="-216000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1pPr>
            <a:lvl2pPr marL="685903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2pPr>
            <a:lvl3pPr marL="1143171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3pPr>
            <a:lvl4pPr marL="1600440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4pPr>
            <a:lvl5pPr marL="2057708" indent="-228634">
              <a:buClr>
                <a:schemeClr val="accent1"/>
              </a:buClr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5pPr>
          </a:lstStyle>
          <a:p>
            <a:pPr lvl="0"/>
            <a:r>
              <a:rPr lang="nb-NO" dirty="0"/>
              <a:t>Klikk for å redigere tittel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US" dirty="0"/>
          </a:p>
        </p:txBody>
      </p:sp>
      <p:sp>
        <p:nvSpPr>
          <p:cNvPr id="7" name="Text Placeholder 19">
            <a:extLst>
              <a:ext uri="{FF2B5EF4-FFF2-40B4-BE49-F238E27FC236}">
                <a16:creationId xmlns:a16="http://schemas.microsoft.com/office/drawing/2014/main" id="{252B2CB5-59F8-134A-9E5D-26381469FA8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775" y="5010026"/>
            <a:ext cx="10804709" cy="669914"/>
          </a:xfrm>
          <a:solidFill>
            <a:srgbClr val="FF0000">
              <a:alpha val="0"/>
            </a:srgbClr>
          </a:solidFill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200">
                <a:latin typeface="+mn-lt"/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faktateks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07676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(v) og tekst (h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F9D4D81-ECFD-4936-AE69-2246130E77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2537" y="1665514"/>
            <a:ext cx="7068183" cy="4322321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042CC47-3925-421D-B235-182BDDB86FBF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0C295C7A-E0DB-FB4F-9EAA-17B99EF98836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35A94012-0F8A-40B4-B3C9-C1511AEB53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2537" y="467494"/>
            <a:ext cx="11317456" cy="108458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7A0AB59E-5259-4CBD-BCBA-438DA519E2D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429500" y="1665288"/>
            <a:ext cx="4160838" cy="4322762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8812735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med tittel x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712AF52-FC90-4A78-A4F1-703D6A87A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66837" y="1085976"/>
            <a:ext cx="4915540" cy="4699544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CD920CFC-C971-401A-9317-8A8EF3D6E72E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497728" y="1085976"/>
            <a:ext cx="4915540" cy="4699544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876926" y="4158144"/>
            <a:ext cx="2372033" cy="1071686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redigere tekst</a:t>
            </a:r>
          </a:p>
        </p:txBody>
      </p:sp>
      <p:sp>
        <p:nvSpPr>
          <p:cNvPr id="16" name="Text 2">
            <a:extLst>
              <a:ext uri="{FF2B5EF4-FFF2-40B4-BE49-F238E27FC236}">
                <a16:creationId xmlns:a16="http://schemas.microsoft.com/office/drawing/2014/main" id="{6FAE18E6-CE06-4E54-8A85-0C8CF2EA39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651292" y="4158144"/>
            <a:ext cx="2372033" cy="1071686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redigere tekst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9F6F469A-47E2-4AEC-B443-0685DFBEEF4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4" name="Forretningsområde">
            <a:extLst>
              <a:ext uri="{FF2B5EF4-FFF2-40B4-BE49-F238E27FC236}">
                <a16:creationId xmlns:a16="http://schemas.microsoft.com/office/drawing/2014/main" id="{E2CB0BD1-1FD4-48A4-94B3-1247ECD0A0F7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7" name="addin_selectedbox" hidden="1">
            <a:extLst>
              <a:ext uri="{FF2B5EF4-FFF2-40B4-BE49-F238E27FC236}">
                <a16:creationId xmlns:a16="http://schemas.microsoft.com/office/drawing/2014/main" id="{91C9210C-3C9E-40D2-A77A-565FB512B4C5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259082797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med tittel x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712AF52-FC90-4A78-A4F1-703D6A87A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343200" y="1450349"/>
            <a:ext cx="2868986" cy="29585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200" y="4408896"/>
            <a:ext cx="2868986" cy="1071686"/>
          </a:xfrm>
          <a:prstGeom prst="rect">
            <a:avLst/>
          </a:prstGeom>
          <a:solidFill>
            <a:srgbClr val="F9CFE3"/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11083A0D-BBA7-4BD3-B49F-8F7D862D0F2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684370" y="1450349"/>
            <a:ext cx="2868986" cy="29585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4" name="Text 2">
            <a:extLst>
              <a:ext uri="{FF2B5EF4-FFF2-40B4-BE49-F238E27FC236}">
                <a16:creationId xmlns:a16="http://schemas.microsoft.com/office/drawing/2014/main" id="{CA4BB279-1FA5-4326-AC32-C02C6FF83B9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684370" y="4408896"/>
            <a:ext cx="2868986" cy="1071686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17" name="Picture Placeholder 9">
            <a:extLst>
              <a:ext uri="{FF2B5EF4-FFF2-40B4-BE49-F238E27FC236}">
                <a16:creationId xmlns:a16="http://schemas.microsoft.com/office/drawing/2014/main" id="{4302BA26-F956-456C-BEA0-F7EA6F9CB639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8025539" y="1450348"/>
            <a:ext cx="2868986" cy="295854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8" name="Text 3">
            <a:extLst>
              <a:ext uri="{FF2B5EF4-FFF2-40B4-BE49-F238E27FC236}">
                <a16:creationId xmlns:a16="http://schemas.microsoft.com/office/drawing/2014/main" id="{B3B5921C-BCBD-42B1-8C5D-FA578ACC58B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25540" y="4408895"/>
            <a:ext cx="2868986" cy="1071686"/>
          </a:xfrm>
          <a:prstGeom prst="rect">
            <a:avLst/>
          </a:prstGeom>
          <a:solidFill>
            <a:srgbClr val="B8DED7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8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65B79D10-F4A5-41AE-9CE2-DCC5B49486F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3D05CA9E-4907-48D7-9B0B-AAC5C2E36562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" name="addin_selectedbox" hidden="1">
            <a:extLst>
              <a:ext uri="{FF2B5EF4-FFF2-40B4-BE49-F238E27FC236}">
                <a16:creationId xmlns:a16="http://schemas.microsoft.com/office/drawing/2014/main" id="{C0E20414-6B0E-427B-BBB9-F0B1A20A738B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31690432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med tittel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3712AF52-FC90-4A78-A4F1-703D6A87A34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33496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496" y="4455379"/>
            <a:ext cx="2390319" cy="662905"/>
          </a:xfrm>
          <a:prstGeom prst="rect">
            <a:avLst/>
          </a:prstGeom>
          <a:solidFill>
            <a:srgbClr val="F9CFE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19" name="Picture Placeholder 9">
            <a:extLst>
              <a:ext uri="{FF2B5EF4-FFF2-40B4-BE49-F238E27FC236}">
                <a16:creationId xmlns:a16="http://schemas.microsoft.com/office/drawing/2014/main" id="{8C4F5D7D-2EA3-49D5-AC5A-E809D2693DE1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3438746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F2F48759-53DA-46AF-A497-3106077A9B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8746" y="4455379"/>
            <a:ext cx="2390319" cy="662905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1" name="Picture Placeholder 9">
            <a:extLst>
              <a:ext uri="{FF2B5EF4-FFF2-40B4-BE49-F238E27FC236}">
                <a16:creationId xmlns:a16="http://schemas.microsoft.com/office/drawing/2014/main" id="{FBCFBD0F-B347-4CA7-8688-8B0CE8D49AD3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243999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C04DF4E4-B688-4FE1-8FC6-A5FB73C1EB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43999" y="4455379"/>
            <a:ext cx="2390319" cy="662905"/>
          </a:xfrm>
          <a:prstGeom prst="rect">
            <a:avLst/>
          </a:prstGeom>
          <a:solidFill>
            <a:srgbClr val="B8DED7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3" name="Picture Placeholder 9">
            <a:extLst>
              <a:ext uri="{FF2B5EF4-FFF2-40B4-BE49-F238E27FC236}">
                <a16:creationId xmlns:a16="http://schemas.microsoft.com/office/drawing/2014/main" id="{15504F83-2D0D-4CD9-8214-C49B17347772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9049249" y="1961762"/>
            <a:ext cx="2390319" cy="2493616"/>
          </a:xfrm>
          <a:blipFill>
            <a:blip r:embed="rId2"/>
            <a:stretch>
              <a:fillRect/>
            </a:stretch>
          </a:blipFill>
        </p:spPr>
        <p:txBody>
          <a:bodyPr lIns="180000" tIns="180000" rIns="18000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24" name="Text 4">
            <a:extLst>
              <a:ext uri="{FF2B5EF4-FFF2-40B4-BE49-F238E27FC236}">
                <a16:creationId xmlns:a16="http://schemas.microsoft.com/office/drawing/2014/main" id="{EA0D3692-0025-453B-AA20-3585D90735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49249" y="4455379"/>
            <a:ext cx="2390319" cy="662905"/>
          </a:xfrm>
          <a:prstGeom prst="rect">
            <a:avLst/>
          </a:prstGeom>
          <a:solidFill>
            <a:srgbClr val="A9BFE4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0E6581B-A679-4A82-9E67-F19E38C256C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7" name="Forretningsområde">
            <a:extLst>
              <a:ext uri="{FF2B5EF4-FFF2-40B4-BE49-F238E27FC236}">
                <a16:creationId xmlns:a16="http://schemas.microsoft.com/office/drawing/2014/main" id="{D84765E7-E179-40EB-9844-FB1782AB2E54}"/>
              </a:ext>
            </a:extLst>
          </p:cNvPr>
          <p:cNvSpPr txBox="1"/>
          <p:nvPr userDrawn="1"/>
        </p:nvSpPr>
        <p:spPr>
          <a:xfrm>
            <a:off x="6243999" y="190495"/>
            <a:ext cx="53480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8" name="addin_selectedbox" hidden="1">
            <a:extLst>
              <a:ext uri="{FF2B5EF4-FFF2-40B4-BE49-F238E27FC236}">
                <a16:creationId xmlns:a16="http://schemas.microsoft.com/office/drawing/2014/main" id="{DE8603C5-471E-4119-9AE9-BD8F08C31A67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40269385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aktaboks med innhold x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1">
            <a:extLst>
              <a:ext uri="{FF2B5EF4-FFF2-40B4-BE49-F238E27FC236}">
                <a16:creationId xmlns:a16="http://schemas.microsoft.com/office/drawing/2014/main" id="{2802B4FE-8838-46E4-8EE7-A87FFAF1C54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3493" y="1961762"/>
            <a:ext cx="2390319" cy="662905"/>
          </a:xfrm>
          <a:prstGeom prst="rect">
            <a:avLst/>
          </a:prstGeom>
          <a:solidFill>
            <a:srgbClr val="F9CFE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0" name="Text 2">
            <a:extLst>
              <a:ext uri="{FF2B5EF4-FFF2-40B4-BE49-F238E27FC236}">
                <a16:creationId xmlns:a16="http://schemas.microsoft.com/office/drawing/2014/main" id="{F2F48759-53DA-46AF-A497-3106077A9B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350514" y="1961762"/>
            <a:ext cx="2390319" cy="662905"/>
          </a:xfrm>
          <a:prstGeom prst="rect">
            <a:avLst/>
          </a:prstGeom>
          <a:solidFill>
            <a:srgbClr val="FFEFC3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2" name="Text 3">
            <a:extLst>
              <a:ext uri="{FF2B5EF4-FFF2-40B4-BE49-F238E27FC236}">
                <a16:creationId xmlns:a16="http://schemas.microsoft.com/office/drawing/2014/main" id="{C04DF4E4-B688-4FE1-8FC6-A5FB73C1EBE7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67535" y="1961761"/>
            <a:ext cx="2390319" cy="662905"/>
          </a:xfrm>
          <a:prstGeom prst="rect">
            <a:avLst/>
          </a:prstGeom>
          <a:solidFill>
            <a:srgbClr val="B8DED7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sp>
        <p:nvSpPr>
          <p:cNvPr id="24" name="Text 4">
            <a:extLst>
              <a:ext uri="{FF2B5EF4-FFF2-40B4-BE49-F238E27FC236}">
                <a16:creationId xmlns:a16="http://schemas.microsoft.com/office/drawing/2014/main" id="{EA0D3692-0025-453B-AA20-3585D907354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784556" y="1961760"/>
            <a:ext cx="2390319" cy="662905"/>
          </a:xfrm>
          <a:prstGeom prst="rect">
            <a:avLst/>
          </a:prstGeom>
          <a:solidFill>
            <a:srgbClr val="A9BFE4"/>
          </a:solidFill>
        </p:spPr>
        <p:txBody>
          <a:bodyPr lIns="108000" tIns="0" rIns="108000" bIns="0" anchor="ctr">
            <a:normAutofit/>
          </a:bodyPr>
          <a:lstStyle>
            <a:lvl1pPr marL="0" marR="0" indent="0" algn="ctr" defTabSz="914537" rtl="0" eaLnBrk="1" fontAlgn="auto" latinLnBrk="0" hangingPunct="1">
              <a:lnSpc>
                <a:spcPts val="18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Tx/>
              <a:buNone/>
              <a:tabLst/>
              <a:defRPr sz="1600" b="1" i="0" u="none" cap="none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nb-NO" dirty="0"/>
              <a:t>Klikk for å </a:t>
            </a:r>
            <a:br>
              <a:rPr lang="nb-NO" dirty="0"/>
            </a:br>
            <a:r>
              <a:rPr lang="nb-NO" dirty="0"/>
              <a:t>redigere tekst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90E6581B-A679-4A82-9E67-F19E38C256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7" name="Forretningsområde">
            <a:extLst>
              <a:ext uri="{FF2B5EF4-FFF2-40B4-BE49-F238E27FC236}">
                <a16:creationId xmlns:a16="http://schemas.microsoft.com/office/drawing/2014/main" id="{D84765E7-E179-40EB-9844-FB1782AB2E54}"/>
              </a:ext>
            </a:extLst>
          </p:cNvPr>
          <p:cNvSpPr txBox="1"/>
          <p:nvPr userDrawn="1"/>
        </p:nvSpPr>
        <p:spPr>
          <a:xfrm>
            <a:off x="6243999" y="190495"/>
            <a:ext cx="53480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8" name="addin_selectedbox" hidden="1">
            <a:extLst>
              <a:ext uri="{FF2B5EF4-FFF2-40B4-BE49-F238E27FC236}">
                <a16:creationId xmlns:a16="http://schemas.microsoft.com/office/drawing/2014/main" id="{DE8603C5-471E-4119-9AE9-BD8F08C31A67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091CD8D-5EB1-46AD-BE14-1F45D2A24D69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633493" y="262466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9" name="Plassholder for innhold 2">
            <a:extLst>
              <a:ext uri="{FF2B5EF4-FFF2-40B4-BE49-F238E27FC236}">
                <a16:creationId xmlns:a16="http://schemas.microsoft.com/office/drawing/2014/main" id="{F8665A47-58FC-4DA7-A3B8-1F6220C40615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3350513" y="263353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1" name="Plassholder for innhold 2">
            <a:extLst>
              <a:ext uri="{FF2B5EF4-FFF2-40B4-BE49-F238E27FC236}">
                <a16:creationId xmlns:a16="http://schemas.microsoft.com/office/drawing/2014/main" id="{5DC8C106-8CFC-4DDA-AA70-3444BB81CB0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6067533" y="262466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23" name="Plassholder for innhold 2">
            <a:extLst>
              <a:ext uri="{FF2B5EF4-FFF2-40B4-BE49-F238E27FC236}">
                <a16:creationId xmlns:a16="http://schemas.microsoft.com/office/drawing/2014/main" id="{AFE53848-E26E-4DF1-B191-C4D38B472F33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8784556" y="2633535"/>
            <a:ext cx="2390319" cy="2493616"/>
          </a:xfrm>
        </p:spPr>
        <p:txBody>
          <a:bodyPr/>
          <a:lstStyle>
            <a:lvl1pPr marL="171450" indent="-1714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050"/>
            </a:lvl1pPr>
            <a:lvl2pPr>
              <a:spcBef>
                <a:spcPts val="0"/>
              </a:spcBef>
              <a:spcAft>
                <a:spcPts val="0"/>
              </a:spcAft>
              <a:defRPr sz="900"/>
            </a:lvl2pPr>
            <a:lvl3pPr>
              <a:spcBef>
                <a:spcPts val="0"/>
              </a:spcBef>
              <a:spcAft>
                <a:spcPts val="0"/>
              </a:spcAft>
              <a:defRPr sz="800"/>
            </a:lvl3pPr>
            <a:lvl4pPr>
              <a:spcBef>
                <a:spcPts val="0"/>
              </a:spcBef>
              <a:spcAft>
                <a:spcPts val="0"/>
              </a:spcAft>
              <a:defRPr sz="800"/>
            </a:lvl4pPr>
            <a:lvl5pPr>
              <a:spcBef>
                <a:spcPts val="0"/>
              </a:spcBef>
              <a:spcAft>
                <a:spcPts val="0"/>
              </a:spcAft>
              <a:defRPr sz="800"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895910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88B4F422-3B06-42CF-9D74-7CEA802133CE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CECD4BDD-C722-4408-8830-26E7FD88117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112846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 på farget bakgru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3025760"/>
            <a:ext cx="10794281" cy="820738"/>
          </a:xfrm>
          <a:solidFill>
            <a:srgbClr val="FF0000">
              <a:alpha val="0"/>
            </a:srgbClr>
          </a:solidFill>
        </p:spPr>
        <p:txBody>
          <a:bodyPr wrap="square">
            <a:spAutoFit/>
          </a:bodyPr>
          <a:lstStyle>
            <a:lvl1pPr algn="ctr">
              <a:lnSpc>
                <a:spcPts val="6400"/>
              </a:lnSpc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88061D1A-1BBF-4B9F-9DB2-B91C60FC263A}"/>
              </a:ext>
            </a:extLst>
          </p:cNvPr>
          <p:cNvSpPr txBox="1"/>
          <p:nvPr userDrawn="1"/>
        </p:nvSpPr>
        <p:spPr>
          <a:xfrm>
            <a:off x="6254656" y="190495"/>
            <a:ext cx="5337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A9406D34-5173-492B-B3EC-6D7915432C3D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6" name="addin_logochange" hidden="1">
            <a:extLst>
              <a:ext uri="{FF2B5EF4-FFF2-40B4-BE49-F238E27FC236}">
                <a16:creationId xmlns:a16="http://schemas.microsoft.com/office/drawing/2014/main" id="{070FD2BE-94F3-4523-A192-9058B91AC2B3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4" name="addin_logo_black" hidden="1">
            <a:extLst>
              <a:ext uri="{FF2B5EF4-FFF2-40B4-BE49-F238E27FC236}">
                <a16:creationId xmlns:a16="http://schemas.microsoft.com/office/drawing/2014/main" id="{0E3F7CCD-FC36-40CB-8F30-5761A64F07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18" name="addin_logo_normal" hidden="1">
            <a:extLst>
              <a:ext uri="{FF2B5EF4-FFF2-40B4-BE49-F238E27FC236}">
                <a16:creationId xmlns:a16="http://schemas.microsoft.com/office/drawing/2014/main" id="{6F310173-693B-4353-9067-F86C467CDC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0" name="addin_logo_white">
            <a:extLst>
              <a:ext uri="{FF2B5EF4-FFF2-40B4-BE49-F238E27FC236}">
                <a16:creationId xmlns:a16="http://schemas.microsoft.com/office/drawing/2014/main" id="{4E2485B1-AAB4-42CC-841C-488CFD31BC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94822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5" y="1701903"/>
            <a:ext cx="3814645" cy="2257233"/>
          </a:xfrm>
        </p:spPr>
        <p:txBody>
          <a:bodyPr>
            <a:noAutofit/>
          </a:bodyPr>
          <a:lstStyle>
            <a:lvl1pPr>
              <a:lnSpc>
                <a:spcPts val="5002"/>
              </a:lnSpc>
              <a:defRPr sz="400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37B075-4A0B-49A4-A0DF-08700C458FA3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67142" y="-8546"/>
            <a:ext cx="6524972" cy="6866546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nb-NO" dirty="0"/>
          </a:p>
        </p:txBody>
      </p:sp>
      <p:pic>
        <p:nvPicPr>
          <p:cNvPr id="6" name="Graphic 16">
            <a:extLst>
              <a:ext uri="{FF2B5EF4-FFF2-40B4-BE49-F238E27FC236}">
                <a16:creationId xmlns:a16="http://schemas.microsoft.com/office/drawing/2014/main" id="{59AEBD92-816F-4B1F-B3C7-DC43E281991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93896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rretningsområde">
            <a:extLst>
              <a:ext uri="{FF2B5EF4-FFF2-40B4-BE49-F238E27FC236}">
                <a16:creationId xmlns:a16="http://schemas.microsoft.com/office/drawing/2014/main" id="{1EBDB286-73A0-4F19-9300-370B9117550A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4AE45989-37CC-4507-9DA5-085B4590D85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addin_logochange" hidden="1">
            <a:extLst>
              <a:ext uri="{FF2B5EF4-FFF2-40B4-BE49-F238E27FC236}">
                <a16:creationId xmlns:a16="http://schemas.microsoft.com/office/drawing/2014/main" id="{B8D53C86-0B30-4B26-868B-2C22AFADE7DB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2" name="addin_logo_black" hidden="1">
            <a:extLst>
              <a:ext uri="{FF2B5EF4-FFF2-40B4-BE49-F238E27FC236}">
                <a16:creationId xmlns:a16="http://schemas.microsoft.com/office/drawing/2014/main" id="{DDB21B88-6837-4859-A4C3-813F851BEB5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3" name="addin_logo_normal" hidden="1">
            <a:extLst>
              <a:ext uri="{FF2B5EF4-FFF2-40B4-BE49-F238E27FC236}">
                <a16:creationId xmlns:a16="http://schemas.microsoft.com/office/drawing/2014/main" id="{B0AB483F-D6A0-4F53-9E2D-047FC286951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4" name="addin_logo_white" hidden="1">
            <a:extLst>
              <a:ext uri="{FF2B5EF4-FFF2-40B4-BE49-F238E27FC236}">
                <a16:creationId xmlns:a16="http://schemas.microsoft.com/office/drawing/2014/main" id="{CDE653DB-2FCF-4270-B4DC-ED4ECC7D05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047DE521-BA9C-4814-B088-BAEC80378E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9886" y="275221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>
              <a:defRPr/>
            </a:lvl1pPr>
          </a:lstStyle>
          <a:p>
            <a:r>
              <a:rPr lang="nb-NO" dirty="0"/>
              <a:t>Agenda</a:t>
            </a:r>
            <a:endParaRPr lang="en-US" dirty="0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CC9CF7F6-5812-480A-B128-DC73973AE2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9886" y="912364"/>
            <a:ext cx="10792228" cy="5016500"/>
          </a:xfrm>
        </p:spPr>
        <p:txBody>
          <a:bodyPr/>
          <a:lstStyle>
            <a:lvl1pPr marL="285750" indent="-285750">
              <a:buSzPct val="140000"/>
              <a:buFont typeface="Arial" panose="020B0604020202020204" pitchFamily="34" charset="0"/>
              <a:buChar char="•"/>
              <a:defRPr/>
            </a:lvl1pPr>
            <a:lvl2pPr marL="457268" indent="-180000">
              <a:buSzPct val="140000"/>
              <a:buFont typeface="Arial" panose="020B0604020202020204" pitchFamily="34" charset="0"/>
              <a:buChar char="•"/>
              <a:defRPr/>
            </a:lvl2pPr>
            <a:lvl3pPr marL="685903" indent="-180000">
              <a:buSzPct val="140000"/>
              <a:buFont typeface="Arial" panose="020B0604020202020204" pitchFamily="34" charset="0"/>
              <a:buChar char="•"/>
              <a:defRPr/>
            </a:lvl3pPr>
            <a:lvl4pPr marL="914536" indent="-180000">
              <a:buSzPct val="140000"/>
              <a:buFont typeface="Arial" panose="020B0604020202020204" pitchFamily="34" charset="0"/>
              <a:buChar char="•"/>
              <a:defRPr/>
            </a:lvl4pPr>
            <a:lvl5pPr marL="1143170" indent="-180000">
              <a:buSzPct val="14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31075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Graphic 20">
            <a:extLst>
              <a:ext uri="{FF2B5EF4-FFF2-40B4-BE49-F238E27FC236}">
                <a16:creationId xmlns:a16="http://schemas.microsoft.com/office/drawing/2014/main" id="{C18DF70C-1DEE-9D4A-AA90-EFA28A46C1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3025760"/>
            <a:ext cx="10794281" cy="820738"/>
          </a:xfrm>
          <a:noFill/>
        </p:spPr>
        <p:txBody>
          <a:bodyPr wrap="square">
            <a:spAutoFit/>
          </a:bodyPr>
          <a:lstStyle>
            <a:lvl1pPr algn="ctr">
              <a:lnSpc>
                <a:spcPts val="6400"/>
              </a:lnSpc>
              <a:defRPr sz="5400" b="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88061D1A-1BBF-4B9F-9DB2-B91C60FC263A}"/>
              </a:ext>
            </a:extLst>
          </p:cNvPr>
          <p:cNvSpPr txBox="1"/>
          <p:nvPr userDrawn="1"/>
        </p:nvSpPr>
        <p:spPr>
          <a:xfrm>
            <a:off x="6254656" y="190495"/>
            <a:ext cx="5337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A9406D34-5173-492B-B3EC-6D7915432C3D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6" name="addin_logochange" hidden="1">
            <a:extLst>
              <a:ext uri="{FF2B5EF4-FFF2-40B4-BE49-F238E27FC236}">
                <a16:creationId xmlns:a16="http://schemas.microsoft.com/office/drawing/2014/main" id="{070FD2BE-94F3-4523-A192-9058B91AC2B3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4" name="addin_logo_black" hidden="1">
            <a:extLst>
              <a:ext uri="{FF2B5EF4-FFF2-40B4-BE49-F238E27FC236}">
                <a16:creationId xmlns:a16="http://schemas.microsoft.com/office/drawing/2014/main" id="{0E3F7CCD-FC36-40CB-8F30-5761A64F07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18" name="addin_logo_normal" hidden="1">
            <a:extLst>
              <a:ext uri="{FF2B5EF4-FFF2-40B4-BE49-F238E27FC236}">
                <a16:creationId xmlns:a16="http://schemas.microsoft.com/office/drawing/2014/main" id="{6F310173-693B-4353-9067-F86C467CD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0" name="addin_logo_white" hidden="1">
            <a:extLst>
              <a:ext uri="{FF2B5EF4-FFF2-40B4-BE49-F238E27FC236}">
                <a16:creationId xmlns:a16="http://schemas.microsoft.com/office/drawing/2014/main" id="{4E2485B1-AAB4-42CC-841C-488CFD31BC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292600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5547" y="190495"/>
            <a:ext cx="5336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EC27D98-5C0B-2248-8A31-01CC929AFAC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99886" y="912485"/>
            <a:ext cx="10791825" cy="513137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å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NO" dirty="0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B41C7E98-CEAE-437B-BC6D-2FBC6769F3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886" y="263600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59169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2 kolonn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B69F8082-0632-4250-B951-F80BAEDCD7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BBBCC71D-BE0A-46F8-840A-AD3276A0546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6267450" y="912813"/>
            <a:ext cx="5224463" cy="5143500"/>
          </a:xfrm>
        </p:spPr>
        <p:txBody>
          <a:bodyPr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1" name="Plassholder for innhold 5">
            <a:extLst>
              <a:ext uri="{FF2B5EF4-FFF2-40B4-BE49-F238E27FC236}">
                <a16:creationId xmlns:a16="http://schemas.microsoft.com/office/drawing/2014/main" id="{87D6AEF9-35F8-4C1F-8611-6CE7E6C97335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912813"/>
            <a:ext cx="5224463" cy="5143500"/>
          </a:xfrm>
        </p:spPr>
        <p:txBody>
          <a:bodyPr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9784216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2 kolonn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3216FF12-C7B1-D34F-93E3-E20195CD19C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99885" y="906380"/>
            <a:ext cx="5324677" cy="5201652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13" name="Forretningsområde">
            <a:extLst>
              <a:ext uri="{FF2B5EF4-FFF2-40B4-BE49-F238E27FC236}">
                <a16:creationId xmlns:a16="http://schemas.microsoft.com/office/drawing/2014/main" id="{63BE0911-0EC2-B54F-8170-DEE29FB6BE68}"/>
              </a:ext>
            </a:extLst>
          </p:cNvPr>
          <p:cNvSpPr txBox="1"/>
          <p:nvPr userDrawn="1"/>
        </p:nvSpPr>
        <p:spPr>
          <a:xfrm>
            <a:off x="6268235" y="190495"/>
            <a:ext cx="532384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A3E7B2BD-A2D3-2641-B15D-30E6560E318F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164263" y="275221"/>
            <a:ext cx="5346700" cy="5832811"/>
          </a:xfrm>
        </p:spPr>
        <p:txBody>
          <a:bodyPr/>
          <a:lstStyle>
            <a:lvl1pPr>
              <a:defRPr sz="1500"/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innhold</a:t>
            </a:r>
            <a:endParaRPr lang="en-GB" dirty="0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A0A8F30-4E1A-4A40-AF42-0DBC9B4204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886" y="275221"/>
            <a:ext cx="5323845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16873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 og innhold med bakgrunn">
    <p:bg>
      <p:bgPr>
        <a:solidFill>
          <a:srgbClr val="F9CF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5E61B279-F14E-4BFE-A4EB-BD131B126B6F}"/>
              </a:ext>
            </a:extLst>
          </p:cNvPr>
          <p:cNvSpPr/>
          <p:nvPr userDrawn="1"/>
        </p:nvSpPr>
        <p:spPr>
          <a:xfrm>
            <a:off x="0" y="0"/>
            <a:ext cx="12192000" cy="2245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D2AD0BAC-B31A-4C31-8A0A-2E8DFB75095E}"/>
              </a:ext>
            </a:extLst>
          </p:cNvPr>
          <p:cNvSpPr/>
          <p:nvPr userDrawn="1"/>
        </p:nvSpPr>
        <p:spPr>
          <a:xfrm>
            <a:off x="1" y="5982392"/>
            <a:ext cx="12192000" cy="87560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11532A76-0428-4617-96BF-1DF14369A3FA}"/>
              </a:ext>
            </a:extLst>
          </p:cNvPr>
          <p:cNvSpPr/>
          <p:nvPr userDrawn="1"/>
        </p:nvSpPr>
        <p:spPr>
          <a:xfrm>
            <a:off x="3" y="0"/>
            <a:ext cx="260649" cy="68580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4D1DA322-FC63-41ED-B51D-FA24E3C93589}"/>
              </a:ext>
            </a:extLst>
          </p:cNvPr>
          <p:cNvSpPr/>
          <p:nvPr userDrawn="1"/>
        </p:nvSpPr>
        <p:spPr>
          <a:xfrm>
            <a:off x="11931350" y="1"/>
            <a:ext cx="260649" cy="685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80838" y="914400"/>
            <a:ext cx="10804709" cy="3923389"/>
          </a:xfrm>
          <a:solidFill>
            <a:srgbClr val="FF0000">
              <a:alpha val="0"/>
            </a:srgbClr>
          </a:solidFill>
        </p:spPr>
        <p:txBody>
          <a:bodyPr/>
          <a:lstStyle>
            <a:lvl1pPr marL="216000" indent="-216000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1pPr>
            <a:lvl2pPr marL="685903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2pPr>
            <a:lvl3pPr marL="1143171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3pPr>
            <a:lvl4pPr marL="1600440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4pPr>
            <a:lvl5pPr marL="2057708" indent="-228634">
              <a:buClrTx/>
              <a:buSzPct val="100000"/>
              <a:buFont typeface="Symbol" panose="05050102010706020507" pitchFamily="18" charset="2"/>
              <a:buChar char=""/>
              <a:defRPr>
                <a:latin typeface="+mn-lt"/>
              </a:defRPr>
            </a:lvl5pPr>
          </a:lstStyle>
          <a:p>
            <a:pPr lvl="0"/>
            <a:r>
              <a:rPr lang="nb-NO" dirty="0"/>
              <a:t>Klikk for å redigere tittel</a:t>
            </a:r>
            <a:endParaRPr lang="en-GB" dirty="0"/>
          </a:p>
          <a:p>
            <a:pPr lvl="1"/>
            <a:r>
              <a:rPr lang="en-GB" dirty="0"/>
              <a:t>Andre </a:t>
            </a:r>
            <a:r>
              <a:rPr lang="en-GB" dirty="0" err="1"/>
              <a:t>nivå</a:t>
            </a:r>
            <a:endParaRPr lang="en-GB" dirty="0"/>
          </a:p>
          <a:p>
            <a:pPr lvl="2"/>
            <a:r>
              <a:rPr lang="en-GB" dirty="0" err="1"/>
              <a:t>Tredj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3"/>
            <a:r>
              <a:rPr lang="en-GB" dirty="0" err="1"/>
              <a:t>Fjerd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GB" dirty="0"/>
          </a:p>
          <a:p>
            <a:pPr lvl="4"/>
            <a:r>
              <a:rPr lang="en-GB" dirty="0" err="1"/>
              <a:t>Femte</a:t>
            </a:r>
            <a:r>
              <a:rPr lang="en-GB" dirty="0"/>
              <a:t> </a:t>
            </a:r>
            <a:r>
              <a:rPr lang="en-GB" dirty="0" err="1"/>
              <a:t>nivå</a:t>
            </a:r>
            <a:endParaRPr lang="en-US" dirty="0"/>
          </a:p>
        </p:txBody>
      </p:sp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4656" y="190495"/>
            <a:ext cx="533848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b="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EE78ABA7-5B0F-4E44-AFA7-C3132162320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74775" y="5010026"/>
            <a:ext cx="10804709" cy="669914"/>
          </a:xfrm>
          <a:solidFill>
            <a:srgbClr val="FF0000">
              <a:alpha val="0"/>
            </a:srgbClr>
          </a:solidFill>
        </p:spPr>
        <p:txBody>
          <a:bodyPr anchor="b" anchorCtr="0">
            <a:normAutofit/>
          </a:bodyPr>
          <a:lstStyle>
            <a:lvl1pPr marL="0" indent="0">
              <a:lnSpc>
                <a:spcPct val="100000"/>
              </a:lnSpc>
              <a:buNone/>
              <a:defRPr sz="1200">
                <a:latin typeface="+mn-lt"/>
              </a:defRPr>
            </a:lvl1pPr>
          </a:lstStyle>
          <a:p>
            <a:pPr lvl="0"/>
            <a:r>
              <a:rPr lang="en-GB" dirty="0" err="1"/>
              <a:t>Klikk</a:t>
            </a:r>
            <a:r>
              <a:rPr lang="en-GB" dirty="0"/>
              <a:t> for </a:t>
            </a:r>
            <a:r>
              <a:rPr lang="en-GB" dirty="0" err="1"/>
              <a:t>å</a:t>
            </a:r>
            <a:r>
              <a:rPr lang="en-GB" dirty="0"/>
              <a:t> </a:t>
            </a:r>
            <a:r>
              <a:rPr lang="en-GB" dirty="0" err="1"/>
              <a:t>legge</a:t>
            </a:r>
            <a:r>
              <a:rPr lang="en-GB" dirty="0"/>
              <a:t> </a:t>
            </a:r>
            <a:r>
              <a:rPr lang="en-GB" dirty="0" err="1"/>
              <a:t>til</a:t>
            </a:r>
            <a:r>
              <a:rPr lang="en-GB" dirty="0"/>
              <a:t> </a:t>
            </a:r>
            <a:r>
              <a:rPr lang="en-GB" dirty="0" err="1"/>
              <a:t>faktatekst</a:t>
            </a:r>
            <a:endParaRPr lang="en-GB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849CB8C-74B3-4B38-AC54-A8E58A80BFB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3" name="Graphic 16">
            <a:extLst>
              <a:ext uri="{FF2B5EF4-FFF2-40B4-BE49-F238E27FC236}">
                <a16:creationId xmlns:a16="http://schemas.microsoft.com/office/drawing/2014/main" id="{B7385FA1-021E-40B7-AA52-1DE946B6FC0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F4C93068-A660-4636-BA40-CADC104FBD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4775" y="288915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750601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m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88B4F422-3B06-42CF-9D74-7CEA802133CE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172746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86AF58-7EF1-46AD-8198-F449F46642C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8200" y="1122363"/>
            <a:ext cx="9296400" cy="2387600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C761E98-F4E9-405C-AE11-28C39F34563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602038"/>
            <a:ext cx="9296400" cy="1655762"/>
          </a:xfrm>
        </p:spPr>
        <p:txBody>
          <a:bodyPr/>
          <a:lstStyle>
            <a:lvl1pPr marL="0" indent="0" algn="l">
              <a:lnSpc>
                <a:spcPct val="110000"/>
              </a:lnSpc>
              <a:spcBef>
                <a:spcPts val="0"/>
              </a:spcBef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7BC4D2C-F33F-452F-9E57-A86831EB28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92083-BAAF-4C8E-B70B-444D55501DA4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4461BBC-B6B9-4A4F-82D0-32EC8E0562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480AF2-ABF7-41F3-85E1-85C26E3B66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75E5F-D35E-40CA-98A0-09633DDD860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075727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F2CDA9-740B-4571-9098-6178510AD1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1210EE8-BE30-496E-8313-C4C5935AFA2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4A26C9-DB6B-4C97-A920-3C058451C5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92083-BAAF-4C8E-B70B-444D55501DA4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F34DAB-E40A-4123-A788-B6EC930C2D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BBC526-9F5D-4B6B-BA5F-8FF37B9995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75E5F-D35E-40CA-98A0-09633DDD860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75624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48CD05-2C20-4F46-AB6B-8C0AA4750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417525C-C239-4188-9143-223B6F1C84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6F92083-BAAF-4C8E-B70B-444D55501DA4}" type="datetimeFigureOut">
              <a:rPr lang="nb-NO" smtClean="0"/>
              <a:t>20.06.2023</a:t>
            </a:fld>
            <a:endParaRPr lang="nb-NO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01538F4-B7DB-4EC5-AD7B-DAC2F6AA56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CBEE0C9-15C0-45CF-B36C-31E24A6601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0875E5F-D35E-40CA-98A0-09633DDD860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8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 tittel på farget bakgrun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3025760"/>
            <a:ext cx="10794281" cy="820738"/>
          </a:xfrm>
          <a:solidFill>
            <a:srgbClr val="FF0000">
              <a:alpha val="0"/>
            </a:srgbClr>
          </a:solidFill>
        </p:spPr>
        <p:txBody>
          <a:bodyPr wrap="square">
            <a:spAutoFit/>
          </a:bodyPr>
          <a:lstStyle>
            <a:lvl1pPr algn="ctr">
              <a:lnSpc>
                <a:spcPts val="6400"/>
              </a:lnSpc>
              <a:defRPr sz="54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88061D1A-1BBF-4B9F-9DB2-B91C60FC263A}"/>
              </a:ext>
            </a:extLst>
          </p:cNvPr>
          <p:cNvSpPr txBox="1"/>
          <p:nvPr userDrawn="1"/>
        </p:nvSpPr>
        <p:spPr>
          <a:xfrm>
            <a:off x="6254656" y="190495"/>
            <a:ext cx="533745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1" name="addin_background" hidden="1">
            <a:extLst>
              <a:ext uri="{FF2B5EF4-FFF2-40B4-BE49-F238E27FC236}">
                <a16:creationId xmlns:a16="http://schemas.microsoft.com/office/drawing/2014/main" id="{A9406D34-5173-492B-B3EC-6D7915432C3D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6" name="addin_logochange" hidden="1">
            <a:extLst>
              <a:ext uri="{FF2B5EF4-FFF2-40B4-BE49-F238E27FC236}">
                <a16:creationId xmlns:a16="http://schemas.microsoft.com/office/drawing/2014/main" id="{070FD2BE-94F3-4523-A192-9058B91AC2B3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4" name="addin_logo_black" hidden="1">
            <a:extLst>
              <a:ext uri="{FF2B5EF4-FFF2-40B4-BE49-F238E27FC236}">
                <a16:creationId xmlns:a16="http://schemas.microsoft.com/office/drawing/2014/main" id="{0E3F7CCD-FC36-40CB-8F30-5761A64F07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18" name="addin_logo_normal" hidden="1">
            <a:extLst>
              <a:ext uri="{FF2B5EF4-FFF2-40B4-BE49-F238E27FC236}">
                <a16:creationId xmlns:a16="http://schemas.microsoft.com/office/drawing/2014/main" id="{6F310173-693B-4353-9067-F86C467CDC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0" name="addin_logo_white">
            <a:extLst>
              <a:ext uri="{FF2B5EF4-FFF2-40B4-BE49-F238E27FC236}">
                <a16:creationId xmlns:a16="http://schemas.microsoft.com/office/drawing/2014/main" id="{4E2485B1-AAB4-42CC-841C-488CFD31BC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38422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tekst og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5" y="1701903"/>
            <a:ext cx="3814645" cy="2257233"/>
          </a:xfrm>
        </p:spPr>
        <p:txBody>
          <a:bodyPr>
            <a:noAutofit/>
          </a:bodyPr>
          <a:lstStyle>
            <a:lvl1pPr>
              <a:lnSpc>
                <a:spcPts val="5002"/>
              </a:lnSpc>
              <a:defRPr sz="400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FB994C44-3E1A-4DB2-9C07-751D1C99955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967142" y="0"/>
            <a:ext cx="6524972" cy="6858000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>
            <a:lvl1pPr>
              <a:buClrTx/>
              <a:defRPr/>
            </a:lvl1pPr>
          </a:lstStyle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98CF6F8E-388F-4A0B-87E9-16CF277629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85483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 tekst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5" y="1701903"/>
            <a:ext cx="3814645" cy="2257233"/>
          </a:xfrm>
        </p:spPr>
        <p:txBody>
          <a:bodyPr>
            <a:noAutofit/>
          </a:bodyPr>
          <a:lstStyle>
            <a:lvl1pPr>
              <a:lnSpc>
                <a:spcPts val="5002"/>
              </a:lnSpc>
              <a:defRPr sz="4001">
                <a:latin typeface="+mj-lt"/>
              </a:defRPr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8AE37F0-657E-41D7-A404-65AB1106A3B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67142" y="0"/>
            <a:ext cx="6524972" cy="6858000"/>
          </a:xfrm>
          <a:prstGeom prst="rect">
            <a:avLst/>
          </a:prstGeom>
        </p:spPr>
        <p:txBody>
          <a:bodyPr lIns="180000" tIns="18000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3F06605E-CDDF-46AA-B71E-7E3E20F283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4621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phic 12">
            <a:extLst>
              <a:ext uri="{FF2B5EF4-FFF2-40B4-BE49-F238E27FC236}">
                <a16:creationId xmlns:a16="http://schemas.microsoft.com/office/drawing/2014/main" id="{59779767-776A-0E44-8C52-C78A416DA94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9886" y="414000"/>
            <a:ext cx="10792228" cy="1306570"/>
          </a:xfrm>
          <a:solidFill>
            <a:srgbClr val="FF0000">
              <a:alpha val="0"/>
            </a:srgbClr>
          </a:solidFill>
        </p:spPr>
        <p:txBody>
          <a:bodyPr anchor="ctr" anchorCtr="0"/>
          <a:lstStyle>
            <a:lvl1pPr>
              <a:defRPr b="1"/>
            </a:lvl1pPr>
          </a:lstStyle>
          <a:p>
            <a:r>
              <a:rPr lang="en-GB" dirty="0"/>
              <a:t>Agenda</a:t>
            </a:r>
            <a:endParaRPr lang="en-US" dirty="0"/>
          </a:p>
        </p:txBody>
      </p:sp>
      <p:sp>
        <p:nvSpPr>
          <p:cNvPr id="22" name="Forretningsområde">
            <a:extLst>
              <a:ext uri="{FF2B5EF4-FFF2-40B4-BE49-F238E27FC236}">
                <a16:creationId xmlns:a16="http://schemas.microsoft.com/office/drawing/2014/main" id="{1EBDB286-73A0-4F19-9300-370B9117550A}"/>
              </a:ext>
            </a:extLst>
          </p:cNvPr>
          <p:cNvSpPr txBox="1"/>
          <p:nvPr userDrawn="1"/>
        </p:nvSpPr>
        <p:spPr>
          <a:xfrm>
            <a:off x="6254657" y="190495"/>
            <a:ext cx="5337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4AE45989-37CC-4507-9DA5-085B4590D85C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addin_logochange" hidden="1">
            <a:extLst>
              <a:ext uri="{FF2B5EF4-FFF2-40B4-BE49-F238E27FC236}">
                <a16:creationId xmlns:a16="http://schemas.microsoft.com/office/drawing/2014/main" id="{B8D53C86-0B30-4B26-868B-2C22AFADE7DB}"/>
              </a:ext>
            </a:extLst>
          </p:cNvPr>
          <p:cNvSpPr/>
          <p:nvPr userDrawn="1"/>
        </p:nvSpPr>
        <p:spPr>
          <a:xfrm>
            <a:off x="4197257" y="-660476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pic>
        <p:nvPicPr>
          <p:cNvPr id="12" name="addin_logo_black" hidden="1">
            <a:extLst>
              <a:ext uri="{FF2B5EF4-FFF2-40B4-BE49-F238E27FC236}">
                <a16:creationId xmlns:a16="http://schemas.microsoft.com/office/drawing/2014/main" id="{DDB21B88-6837-4859-A4C3-813F851BEB5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3" name="addin_logo_normal" hidden="1">
            <a:extLst>
              <a:ext uri="{FF2B5EF4-FFF2-40B4-BE49-F238E27FC236}">
                <a16:creationId xmlns:a16="http://schemas.microsoft.com/office/drawing/2014/main" id="{B0AB483F-D6A0-4F53-9E2D-047FC28695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pic>
        <p:nvPicPr>
          <p:cNvPr id="24" name="addin_logo_white" hidden="1">
            <a:extLst>
              <a:ext uri="{FF2B5EF4-FFF2-40B4-BE49-F238E27FC236}">
                <a16:creationId xmlns:a16="http://schemas.microsoft.com/office/drawing/2014/main" id="{CDE653DB-2FCF-4270-B4DC-ED4ECC7D054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B83E2245-EC22-44ED-A05A-DAE8F4275A9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0088" y="1984375"/>
            <a:ext cx="10791825" cy="3991882"/>
          </a:xfrm>
        </p:spPr>
        <p:txBody>
          <a:bodyPr/>
          <a:lstStyle>
            <a:lvl1pPr marL="285750" indent="-285750">
              <a:buSzPct val="140000"/>
              <a:buFont typeface="Arial" panose="020B0604020202020204" pitchFamily="34" charset="0"/>
              <a:buChar char="•"/>
              <a:defRPr/>
            </a:lvl1pPr>
            <a:lvl2pPr marL="457268" indent="-180000">
              <a:buSzPct val="140000"/>
              <a:buFont typeface="Arial" panose="020B0604020202020204" pitchFamily="34" charset="0"/>
              <a:buChar char="•"/>
              <a:defRPr/>
            </a:lvl2pPr>
            <a:lvl3pPr marL="685903" indent="-180000">
              <a:buSzPct val="140000"/>
              <a:buFont typeface="Arial" panose="020B0604020202020204" pitchFamily="34" charset="0"/>
              <a:buChar char="•"/>
              <a:defRPr/>
            </a:lvl3pPr>
            <a:lvl4pPr marL="914536" indent="-180000">
              <a:buSzPct val="140000"/>
              <a:buFont typeface="Arial" panose="020B0604020202020204" pitchFamily="34" charset="0"/>
              <a:buChar char="•"/>
              <a:defRPr/>
            </a:lvl4pPr>
            <a:lvl5pPr marL="1143170" indent="-180000">
              <a:buSzPct val="140000"/>
              <a:buFont typeface="Arial" panose="020B0604020202020204" pitchFamily="34" charset="0"/>
              <a:buChar char="•"/>
              <a:defRPr/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573762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erson presentasjo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A0733A6E-B432-48B4-AEB5-50BA870EED56}"/>
              </a:ext>
            </a:extLst>
          </p:cNvPr>
          <p:cNvSpPr/>
          <p:nvPr userDrawn="1"/>
        </p:nvSpPr>
        <p:spPr>
          <a:xfrm>
            <a:off x="0" y="2"/>
            <a:ext cx="2019562" cy="6857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7" name="Rektangel 16">
            <a:extLst>
              <a:ext uri="{FF2B5EF4-FFF2-40B4-BE49-F238E27FC236}">
                <a16:creationId xmlns:a16="http://schemas.microsoft.com/office/drawing/2014/main" id="{5BD29941-9DDE-4570-9079-3A0231B7E503}"/>
              </a:ext>
            </a:extLst>
          </p:cNvPr>
          <p:cNvSpPr/>
          <p:nvPr userDrawn="1"/>
        </p:nvSpPr>
        <p:spPr>
          <a:xfrm>
            <a:off x="7170084" y="1"/>
            <a:ext cx="5021916" cy="6857999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520D587C-9AE1-47B8-8E98-FAEB35482585}"/>
              </a:ext>
            </a:extLst>
          </p:cNvPr>
          <p:cNvSpPr/>
          <p:nvPr userDrawn="1"/>
        </p:nvSpPr>
        <p:spPr>
          <a:xfrm>
            <a:off x="2019562" y="1"/>
            <a:ext cx="10172438" cy="134236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19" name="Rektangel 18">
            <a:extLst>
              <a:ext uri="{FF2B5EF4-FFF2-40B4-BE49-F238E27FC236}">
                <a16:creationId xmlns:a16="http://schemas.microsoft.com/office/drawing/2014/main" id="{C9A68D17-4933-4D2C-9827-39FC4C1547A4}"/>
              </a:ext>
            </a:extLst>
          </p:cNvPr>
          <p:cNvSpPr/>
          <p:nvPr userDrawn="1"/>
        </p:nvSpPr>
        <p:spPr>
          <a:xfrm>
            <a:off x="2019562" y="5352217"/>
            <a:ext cx="10172438" cy="150578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019562" y="1342363"/>
            <a:ext cx="5150522" cy="2650796"/>
          </a:xfrm>
          <a:solidFill>
            <a:srgbClr val="FF0000">
              <a:alpha val="0"/>
            </a:srgbClr>
          </a:solidFill>
        </p:spPr>
        <p:txBody>
          <a:bodyPr lIns="180000" rIns="180000">
            <a:normAutofit/>
          </a:bodyPr>
          <a:lstStyle>
            <a:lvl1pPr algn="ctr">
              <a:lnSpc>
                <a:spcPts val="3301"/>
              </a:lnSpc>
              <a:defRPr sz="2801" b="1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ort introtekst</a:t>
            </a:r>
            <a:br>
              <a:rPr lang="nb-NO" dirty="0"/>
            </a:br>
            <a:r>
              <a:rPr lang="nb-NO" dirty="0"/>
              <a:t>eller et sitat.</a:t>
            </a:r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6" name="Forretningsområde">
            <a:extLst>
              <a:ext uri="{FF2B5EF4-FFF2-40B4-BE49-F238E27FC236}">
                <a16:creationId xmlns:a16="http://schemas.microsoft.com/office/drawing/2014/main" id="{7CF8F4E2-7AB4-412C-ADAB-55D715200D29}"/>
              </a:ext>
            </a:extLst>
          </p:cNvPr>
          <p:cNvSpPr txBox="1"/>
          <p:nvPr userDrawn="1"/>
        </p:nvSpPr>
        <p:spPr>
          <a:xfrm>
            <a:off x="6255547" y="190495"/>
            <a:ext cx="53365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406CC4-EAB3-47FE-8F8A-6B562C9D61E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170086" y="1342364"/>
            <a:ext cx="3086501" cy="4009853"/>
          </a:xfrm>
          <a:prstGeom prst="rect">
            <a:avLst/>
          </a:prstGeom>
          <a:blipFill>
            <a:blip r:embed="rId4"/>
            <a:stretch>
              <a:fillRect/>
            </a:stretch>
          </a:blipFill>
        </p:spPr>
        <p:txBody>
          <a:bodyPr lIns="180000" tIns="180000" rIns="0" bIns="0"/>
          <a:lstStyle/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br>
              <a:rPr lang="en-GB" dirty="0"/>
            </a:b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et «</a:t>
            </a:r>
            <a:r>
              <a:rPr lang="en-GB" dirty="0" err="1"/>
              <a:t>Portrettbilde</a:t>
            </a:r>
            <a:r>
              <a:rPr lang="en-GB" dirty="0"/>
              <a:t>»</a:t>
            </a:r>
            <a:endParaRPr lang="nb-NO" dirty="0"/>
          </a:p>
        </p:txBody>
      </p:sp>
      <p:sp>
        <p:nvSpPr>
          <p:cNvPr id="10" name="Text 1">
            <a:extLst>
              <a:ext uri="{FF2B5EF4-FFF2-40B4-BE49-F238E27FC236}">
                <a16:creationId xmlns:a16="http://schemas.microsoft.com/office/drawing/2014/main" id="{EC68598C-1A75-4814-9234-B7F4615227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019564" y="3993161"/>
            <a:ext cx="5150521" cy="1359057"/>
          </a:xfrm>
          <a:prstGeom prst="rect">
            <a:avLst/>
          </a:prstGeom>
          <a:solidFill>
            <a:srgbClr val="FF0000">
              <a:alpha val="0"/>
            </a:srgbClr>
          </a:solidFill>
        </p:spPr>
        <p:txBody>
          <a:bodyPr lIns="108000" tIns="0" rIns="108000" bIns="0" anchor="ctr">
            <a:normAutofit/>
          </a:bodyPr>
          <a:lstStyle>
            <a:lvl1pPr marL="0" indent="0" algn="ctr">
              <a:buFont typeface="Arial" panose="020B0604020202020204" pitchFamily="34" charset="0"/>
              <a:buChar char="​"/>
              <a:defRPr b="1">
                <a:solidFill>
                  <a:schemeClr val="bg1"/>
                </a:solidFill>
                <a:latin typeface="+mj-lt"/>
              </a:defRPr>
            </a:lvl1pPr>
            <a:lvl2pPr marL="0" indent="0" algn="ctr">
              <a:buFont typeface="Arial" panose="020B0604020202020204" pitchFamily="34" charset="0"/>
              <a:buChar char="​"/>
              <a:defRPr sz="1200">
                <a:solidFill>
                  <a:schemeClr val="bg1"/>
                </a:solidFill>
                <a:latin typeface="ClanOT-News" panose="020B0604020101020102" pitchFamily="34" charset="0"/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 dirty="0" err="1"/>
              <a:t>Fornavn</a:t>
            </a:r>
            <a:r>
              <a:rPr lang="en-US" dirty="0"/>
              <a:t> </a:t>
            </a:r>
            <a:r>
              <a:rPr lang="en-US" dirty="0" err="1"/>
              <a:t>Etternavn</a:t>
            </a:r>
            <a:endParaRPr lang="en-US" dirty="0"/>
          </a:p>
          <a:p>
            <a:pPr lvl="1"/>
            <a:r>
              <a:rPr lang="en-US" dirty="0" err="1"/>
              <a:t>Tittel</a:t>
            </a:r>
            <a:r>
              <a:rPr lang="en-US" dirty="0"/>
              <a:t> / </a:t>
            </a:r>
            <a:r>
              <a:rPr lang="en-US" dirty="0" err="1"/>
              <a:t>Bedrift</a:t>
            </a:r>
            <a:endParaRPr lang="en-US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C709C237-99D2-4405-81DD-C17A07B4ED85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12400513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4F9D4D81-ECFD-4936-AE69-2246130E7706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73634" y="568391"/>
            <a:ext cx="11644732" cy="5419445"/>
          </a:xfrm>
          <a:blipFill>
            <a:blip r:embed="rId2"/>
            <a:stretch>
              <a:fillRect/>
            </a:stretch>
          </a:blipFill>
        </p:spPr>
        <p:txBody>
          <a:bodyPr lIns="180000" tIns="180000"/>
          <a:lstStyle>
            <a:lvl1pPr>
              <a:buClrTx/>
              <a:defRPr/>
            </a:lvl1pPr>
          </a:lstStyle>
          <a:p>
            <a:r>
              <a:rPr lang="en-GB" dirty="0" err="1"/>
              <a:t>Trykk</a:t>
            </a:r>
            <a:r>
              <a:rPr lang="en-GB" dirty="0"/>
              <a:t> </a:t>
            </a:r>
            <a:r>
              <a:rPr lang="en-GB" dirty="0" err="1"/>
              <a:t>på</a:t>
            </a:r>
            <a:r>
              <a:rPr lang="en-GB" dirty="0"/>
              <a:t> «Sett inn» </a:t>
            </a:r>
            <a:r>
              <a:rPr lang="en-GB" dirty="0" err="1"/>
              <a:t>fra</a:t>
            </a:r>
            <a:r>
              <a:rPr lang="en-GB" dirty="0"/>
              <a:t> </a:t>
            </a:r>
            <a:r>
              <a:rPr lang="en-GB" dirty="0" err="1"/>
              <a:t>menyen</a:t>
            </a:r>
            <a:r>
              <a:rPr lang="en-GB" dirty="0"/>
              <a:t> </a:t>
            </a:r>
            <a:r>
              <a:rPr lang="en-GB" dirty="0" err="1"/>
              <a:t>og</a:t>
            </a:r>
            <a:r>
              <a:rPr lang="en-GB" dirty="0"/>
              <a:t> </a:t>
            </a:r>
            <a:r>
              <a:rPr lang="en-GB" dirty="0" err="1"/>
              <a:t>velg</a:t>
            </a:r>
            <a:r>
              <a:rPr lang="en-GB" dirty="0"/>
              <a:t> «</a:t>
            </a:r>
            <a:r>
              <a:rPr lang="en-GB" dirty="0" err="1"/>
              <a:t>Bilde</a:t>
            </a:r>
            <a:r>
              <a:rPr lang="en-GB" dirty="0"/>
              <a:t>»</a:t>
            </a:r>
            <a:endParaRPr lang="nb-NO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41F2DF57-7ECD-4A5A-B804-CBE9C70D0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2" name="Text 1"/>
          <p:cNvSpPr>
            <a:spLocks noGrp="1"/>
          </p:cNvSpPr>
          <p:nvPr>
            <p:ph type="title" hasCustomPrompt="1"/>
          </p:nvPr>
        </p:nvSpPr>
        <p:spPr>
          <a:xfrm>
            <a:off x="273634" y="2572047"/>
            <a:ext cx="4964411" cy="2236483"/>
          </a:xfrm>
          <a:solidFill>
            <a:schemeClr val="accent5"/>
          </a:solidFill>
        </p:spPr>
        <p:txBody>
          <a:bodyPr lIns="180000" rIns="180000" anchor="ctr" anchorCtr="0">
            <a:normAutofit/>
          </a:bodyPr>
          <a:lstStyle>
            <a:lvl1pPr algn="ctr">
              <a:lnSpc>
                <a:spcPts val="5002"/>
              </a:lnSpc>
              <a:defRPr sz="4001" b="1"/>
            </a:lvl1pPr>
          </a:lstStyle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17" name="Forretningsområde">
            <a:extLst>
              <a:ext uri="{FF2B5EF4-FFF2-40B4-BE49-F238E27FC236}">
                <a16:creationId xmlns:a16="http://schemas.microsoft.com/office/drawing/2014/main" id="{D6272709-8885-4CE3-8EA7-E9C1A1418F05}"/>
              </a:ext>
            </a:extLst>
          </p:cNvPr>
          <p:cNvSpPr txBox="1"/>
          <p:nvPr userDrawn="1"/>
        </p:nvSpPr>
        <p:spPr>
          <a:xfrm>
            <a:off x="6254656" y="190495"/>
            <a:ext cx="533533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E2183B0-E9CA-4398-A83F-CE7D70B7A619}"/>
              </a:ext>
            </a:extLst>
          </p:cNvPr>
          <p:cNvSpPr/>
          <p:nvPr userDrawn="1"/>
        </p:nvSpPr>
        <p:spPr>
          <a:xfrm>
            <a:off x="999198" y="-660475"/>
            <a:ext cx="2980655" cy="54192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450"/>
          </a:p>
        </p:txBody>
      </p:sp>
    </p:spTree>
    <p:extLst>
      <p:ext uri="{BB962C8B-B14F-4D97-AF65-F5344CB8AC3E}">
        <p14:creationId xmlns:p14="http://schemas.microsoft.com/office/powerpoint/2010/main" val="36189715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tags" Target="../tags/tag4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2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8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oleObject" Target="../embeddings/oleObject2.bin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0BD3CEB2-F5A2-46BA-A440-B4DFF877BCD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8"/>
            </p:custDataLst>
            <p:extLst>
              <p:ext uri="{D42A27DB-BD31-4B8C-83A1-F6EECF244321}">
                <p14:modId xmlns:p14="http://schemas.microsoft.com/office/powerpoint/2010/main" val="99144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622" imgH="623" progId="TCLayout.ActiveDocument.1">
                  <p:embed/>
                </p:oleObj>
              </mc:Choice>
              <mc:Fallback>
                <p:oleObj name="think-cell Slide" r:id="rId30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0BD3CEB2-F5A2-46BA-A440-B4DFF877BCD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7B93F25D-1622-4C86-9AFF-71CDCE8458F3}"/>
              </a:ext>
            </a:extLst>
          </p:cNvPr>
          <p:cNvSpPr/>
          <p:nvPr userDrawn="1">
            <p:custDataLst>
              <p:tags r:id="rId2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1" b="1" i="0" baseline="0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9886" y="365127"/>
            <a:ext cx="10792228" cy="1325563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9886" y="1825625"/>
            <a:ext cx="10792228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E0CF490A-F217-497F-B1C5-C00A0802EAF4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37F3AFB7-81A2-4D18-B3AF-A4AE827AB323}"/>
              </a:ext>
            </a:extLst>
          </p:cNvPr>
          <p:cNvSpPr txBox="1"/>
          <p:nvPr userDrawn="1"/>
        </p:nvSpPr>
        <p:spPr>
          <a:xfrm>
            <a:off x="6254657" y="190495"/>
            <a:ext cx="53372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531109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23" r:id="rId3"/>
    <p:sldLayoutId id="2147483724" r:id="rId4"/>
    <p:sldLayoutId id="2147483717" r:id="rId5"/>
    <p:sldLayoutId id="2147483696" r:id="rId6"/>
    <p:sldLayoutId id="2147483718" r:id="rId7"/>
    <p:sldLayoutId id="2147483734" r:id="rId8"/>
    <p:sldLayoutId id="2147483719" r:id="rId9"/>
    <p:sldLayoutId id="2147483722" r:id="rId10"/>
    <p:sldLayoutId id="2147483701" r:id="rId11"/>
    <p:sldLayoutId id="2147483721" r:id="rId12"/>
    <p:sldLayoutId id="2147483739" r:id="rId13"/>
    <p:sldLayoutId id="2147483720" r:id="rId14"/>
    <p:sldLayoutId id="2147483725" r:id="rId15"/>
    <p:sldLayoutId id="2147483737" r:id="rId16"/>
    <p:sldLayoutId id="2147483728" r:id="rId17"/>
    <p:sldLayoutId id="2147483729" r:id="rId18"/>
    <p:sldLayoutId id="2147483726" r:id="rId19"/>
    <p:sldLayoutId id="2147483727" r:id="rId20"/>
    <p:sldLayoutId id="2147483736" r:id="rId21"/>
    <p:sldLayoutId id="2147483731" r:id="rId22"/>
    <p:sldLayoutId id="2147483732" r:id="rId23"/>
    <p:sldLayoutId id="2147483733" r:id="rId24"/>
    <p:sldLayoutId id="2147483735" r:id="rId25"/>
    <p:sldLayoutId id="2147483730" r:id="rId26"/>
  </p:sldLayoutIdLst>
  <p:hf hdr="0" ftr="0" dt="0"/>
  <p:txStyles>
    <p:titleStyle>
      <a:lvl1pPr algn="l" defTabSz="914537" rtl="0" eaLnBrk="1" latinLnBrk="0" hangingPunct="1">
        <a:lnSpc>
          <a:spcPts val="3301"/>
        </a:lnSpc>
        <a:spcBef>
          <a:spcPct val="0"/>
        </a:spcBef>
        <a:buNone/>
        <a:defRPr sz="2801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903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14536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170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2413B5D-5D7E-4E7F-B56E-35E46852A1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528594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622" imgH="623" progId="TCLayout.ActiveDocument.1">
                  <p:embed/>
                </p:oleObj>
              </mc:Choice>
              <mc:Fallback>
                <p:oleObj name="think-cell Slide" r:id="rId15" imgW="622" imgH="62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2413B5D-5D7E-4E7F-B56E-35E46852A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26F44D95-DD17-4305-9A1D-12A6180E41C9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400" b="1" i="0" baseline="0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9886" y="275221"/>
            <a:ext cx="10792228" cy="55253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nb-NO" dirty="0"/>
              <a:t>Klikk for å redigere tit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9886" y="1086853"/>
            <a:ext cx="10792228" cy="509011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/>
              <a:t>Klikk for å redigere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19" name="Forretningsområde">
            <a:extLst>
              <a:ext uri="{FF2B5EF4-FFF2-40B4-BE49-F238E27FC236}">
                <a16:creationId xmlns:a16="http://schemas.microsoft.com/office/drawing/2014/main" id="{37F3AFB7-81A2-4D18-B3AF-A4AE827AB323}"/>
              </a:ext>
            </a:extLst>
          </p:cNvPr>
          <p:cNvSpPr txBox="1"/>
          <p:nvPr userDrawn="1"/>
        </p:nvSpPr>
        <p:spPr>
          <a:xfrm>
            <a:off x="6254657" y="190495"/>
            <a:ext cx="533726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b-NO" sz="1200" dirty="0">
                <a:latin typeface="ClanOT-News" panose="020B0604020101020102" pitchFamily="34" charset="0"/>
              </a:rPr>
              <a:t> </a:t>
            </a:r>
          </a:p>
        </p:txBody>
      </p:sp>
      <p:pic>
        <p:nvPicPr>
          <p:cNvPr id="7" name="Graphic 16">
            <a:extLst>
              <a:ext uri="{FF2B5EF4-FFF2-40B4-BE49-F238E27FC236}">
                <a16:creationId xmlns:a16="http://schemas.microsoft.com/office/drawing/2014/main" id="{9C764254-8E7A-428C-A26B-B275E991103F}"/>
              </a:ext>
            </a:extLst>
          </p:cNvPr>
          <p:cNvPicPr>
            <a:picLocks noChangeAspect="1"/>
          </p:cNvPicPr>
          <p:nvPr userDrawn="1"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45908" y="6198024"/>
            <a:ext cx="1103744" cy="367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46472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662" r:id="rId2"/>
    <p:sldLayoutId id="2147483664" r:id="rId3"/>
    <p:sldLayoutId id="2147483681" r:id="rId4"/>
    <p:sldLayoutId id="2147483682" r:id="rId5"/>
    <p:sldLayoutId id="2147483683" r:id="rId6"/>
    <p:sldLayoutId id="2147483679" r:id="rId7"/>
    <p:sldLayoutId id="2147483666" r:id="rId8"/>
    <p:sldLayoutId id="2147483740" r:id="rId9"/>
    <p:sldLayoutId id="2147483746" r:id="rId10"/>
    <p:sldLayoutId id="2147483747" r:id="rId11"/>
  </p:sldLayoutIdLst>
  <p:hf hdr="0" ftr="0" dt="0"/>
  <p:txStyles>
    <p:titleStyle>
      <a:lvl1pPr algn="l" defTabSz="914537" rtl="0" eaLnBrk="1" latinLnBrk="0" hangingPunct="1">
        <a:lnSpc>
          <a:spcPts val="3301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SzPct val="100000"/>
        <a:buFont typeface="Symbol" panose="05050102010706020507" pitchFamily="18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8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685903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914536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170" indent="-180000" algn="l" defTabSz="91453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Symbol" panose="05050102010706020507" pitchFamily="18" charset="2"/>
        <a:buChar char="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977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2245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514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783" indent="-228634" algn="l" defTabSz="91453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69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537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806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9074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343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611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880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8148" algn="l" defTabSz="91453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5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3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8.x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5.bin"/><Relationship Id="rId4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oleObject" Target="../embeddings/oleObject6.bin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30.xml"/><Relationship Id="rId7" Type="http://schemas.openxmlformats.org/officeDocument/2006/relationships/oleObject" Target="../embeddings/oleObject8.bin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11.xml"/><Relationship Id="rId6" Type="http://schemas.openxmlformats.org/officeDocument/2006/relationships/image" Target="../media/image15.emf"/><Relationship Id="rId5" Type="http://schemas.openxmlformats.org/officeDocument/2006/relationships/oleObject" Target="../embeddings/oleObject10.bin"/><Relationship Id="rId4" Type="http://schemas.openxmlformats.org/officeDocument/2006/relationships/image" Target="../media/image1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31.xml"/><Relationship Id="rId1" Type="http://schemas.openxmlformats.org/officeDocument/2006/relationships/tags" Target="../tags/tag12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2.bin"/><Relationship Id="rId4" Type="http://schemas.openxmlformats.org/officeDocument/2006/relationships/image" Target="../media/image11.emf"/></Relationships>
</file>

<file path=ppt/slides/_rels/slide7.xml.rels><?xml version="1.0" encoding="UTF-8" standalone="yes"?>
<Relationships xmlns="http://schemas.openxmlformats.org/package/2006/relationships"><Relationship Id="rId13" Type="http://schemas.openxmlformats.org/officeDocument/2006/relationships/tags" Target="../tags/tag25.xml"/><Relationship Id="rId18" Type="http://schemas.openxmlformats.org/officeDocument/2006/relationships/tags" Target="../tags/tag30.xml"/><Relationship Id="rId26" Type="http://schemas.openxmlformats.org/officeDocument/2006/relationships/tags" Target="../tags/tag38.xml"/><Relationship Id="rId39" Type="http://schemas.openxmlformats.org/officeDocument/2006/relationships/tags" Target="../tags/tag51.xml"/><Relationship Id="rId21" Type="http://schemas.openxmlformats.org/officeDocument/2006/relationships/tags" Target="../tags/tag33.xml"/><Relationship Id="rId34" Type="http://schemas.openxmlformats.org/officeDocument/2006/relationships/tags" Target="../tags/tag46.xml"/><Relationship Id="rId42" Type="http://schemas.openxmlformats.org/officeDocument/2006/relationships/tags" Target="../tags/tag54.xml"/><Relationship Id="rId47" Type="http://schemas.openxmlformats.org/officeDocument/2006/relationships/tags" Target="../tags/tag59.xml"/><Relationship Id="rId50" Type="http://schemas.openxmlformats.org/officeDocument/2006/relationships/tags" Target="../tags/tag62.xml"/><Relationship Id="rId55" Type="http://schemas.openxmlformats.org/officeDocument/2006/relationships/tags" Target="../tags/tag67.xml"/><Relationship Id="rId63" Type="http://schemas.openxmlformats.org/officeDocument/2006/relationships/notesSlide" Target="../notesSlides/notesSlide2.xml"/><Relationship Id="rId7" Type="http://schemas.openxmlformats.org/officeDocument/2006/relationships/tags" Target="../tags/tag19.xml"/><Relationship Id="rId2" Type="http://schemas.openxmlformats.org/officeDocument/2006/relationships/tags" Target="../tags/tag14.xml"/><Relationship Id="rId16" Type="http://schemas.openxmlformats.org/officeDocument/2006/relationships/tags" Target="../tags/tag28.xml"/><Relationship Id="rId20" Type="http://schemas.openxmlformats.org/officeDocument/2006/relationships/tags" Target="../tags/tag32.xml"/><Relationship Id="rId29" Type="http://schemas.openxmlformats.org/officeDocument/2006/relationships/tags" Target="../tags/tag41.xml"/><Relationship Id="rId41" Type="http://schemas.openxmlformats.org/officeDocument/2006/relationships/tags" Target="../tags/tag53.xml"/><Relationship Id="rId54" Type="http://schemas.openxmlformats.org/officeDocument/2006/relationships/tags" Target="../tags/tag66.xml"/><Relationship Id="rId62" Type="http://schemas.openxmlformats.org/officeDocument/2006/relationships/slideLayout" Target="../slideLayouts/slideLayout36.xml"/><Relationship Id="rId1" Type="http://schemas.openxmlformats.org/officeDocument/2006/relationships/tags" Target="../tags/tag13.xml"/><Relationship Id="rId6" Type="http://schemas.openxmlformats.org/officeDocument/2006/relationships/tags" Target="../tags/tag18.xml"/><Relationship Id="rId11" Type="http://schemas.openxmlformats.org/officeDocument/2006/relationships/tags" Target="../tags/tag23.xml"/><Relationship Id="rId24" Type="http://schemas.openxmlformats.org/officeDocument/2006/relationships/tags" Target="../tags/tag36.xml"/><Relationship Id="rId32" Type="http://schemas.openxmlformats.org/officeDocument/2006/relationships/tags" Target="../tags/tag44.xml"/><Relationship Id="rId37" Type="http://schemas.openxmlformats.org/officeDocument/2006/relationships/tags" Target="../tags/tag49.xml"/><Relationship Id="rId40" Type="http://schemas.openxmlformats.org/officeDocument/2006/relationships/tags" Target="../tags/tag52.xml"/><Relationship Id="rId45" Type="http://schemas.openxmlformats.org/officeDocument/2006/relationships/tags" Target="../tags/tag57.xml"/><Relationship Id="rId53" Type="http://schemas.openxmlformats.org/officeDocument/2006/relationships/tags" Target="../tags/tag65.xml"/><Relationship Id="rId58" Type="http://schemas.openxmlformats.org/officeDocument/2006/relationships/tags" Target="../tags/tag70.xml"/><Relationship Id="rId66" Type="http://schemas.openxmlformats.org/officeDocument/2006/relationships/chart" Target="../charts/chart1.xml"/><Relationship Id="rId5" Type="http://schemas.openxmlformats.org/officeDocument/2006/relationships/tags" Target="../tags/tag17.xml"/><Relationship Id="rId15" Type="http://schemas.openxmlformats.org/officeDocument/2006/relationships/tags" Target="../tags/tag27.xml"/><Relationship Id="rId23" Type="http://schemas.openxmlformats.org/officeDocument/2006/relationships/tags" Target="../tags/tag35.xml"/><Relationship Id="rId28" Type="http://schemas.openxmlformats.org/officeDocument/2006/relationships/tags" Target="../tags/tag40.xml"/><Relationship Id="rId36" Type="http://schemas.openxmlformats.org/officeDocument/2006/relationships/tags" Target="../tags/tag48.xml"/><Relationship Id="rId49" Type="http://schemas.openxmlformats.org/officeDocument/2006/relationships/tags" Target="../tags/tag61.xml"/><Relationship Id="rId57" Type="http://schemas.openxmlformats.org/officeDocument/2006/relationships/tags" Target="../tags/tag69.xml"/><Relationship Id="rId61" Type="http://schemas.openxmlformats.org/officeDocument/2006/relationships/tags" Target="../tags/tag73.xml"/><Relationship Id="rId10" Type="http://schemas.openxmlformats.org/officeDocument/2006/relationships/tags" Target="../tags/tag22.xml"/><Relationship Id="rId19" Type="http://schemas.openxmlformats.org/officeDocument/2006/relationships/tags" Target="../tags/tag31.xml"/><Relationship Id="rId31" Type="http://schemas.openxmlformats.org/officeDocument/2006/relationships/tags" Target="../tags/tag43.xml"/><Relationship Id="rId44" Type="http://schemas.openxmlformats.org/officeDocument/2006/relationships/tags" Target="../tags/tag56.xml"/><Relationship Id="rId52" Type="http://schemas.openxmlformats.org/officeDocument/2006/relationships/tags" Target="../tags/tag64.xml"/><Relationship Id="rId60" Type="http://schemas.openxmlformats.org/officeDocument/2006/relationships/tags" Target="../tags/tag72.xml"/><Relationship Id="rId65" Type="http://schemas.openxmlformats.org/officeDocument/2006/relationships/image" Target="../media/image11.emf"/><Relationship Id="rId4" Type="http://schemas.openxmlformats.org/officeDocument/2006/relationships/tags" Target="../tags/tag16.xml"/><Relationship Id="rId9" Type="http://schemas.openxmlformats.org/officeDocument/2006/relationships/tags" Target="../tags/tag21.xml"/><Relationship Id="rId14" Type="http://schemas.openxmlformats.org/officeDocument/2006/relationships/tags" Target="../tags/tag26.xml"/><Relationship Id="rId22" Type="http://schemas.openxmlformats.org/officeDocument/2006/relationships/tags" Target="../tags/tag34.xml"/><Relationship Id="rId27" Type="http://schemas.openxmlformats.org/officeDocument/2006/relationships/tags" Target="../tags/tag39.xml"/><Relationship Id="rId30" Type="http://schemas.openxmlformats.org/officeDocument/2006/relationships/tags" Target="../tags/tag42.xml"/><Relationship Id="rId35" Type="http://schemas.openxmlformats.org/officeDocument/2006/relationships/tags" Target="../tags/tag47.xml"/><Relationship Id="rId43" Type="http://schemas.openxmlformats.org/officeDocument/2006/relationships/tags" Target="../tags/tag55.xml"/><Relationship Id="rId48" Type="http://schemas.openxmlformats.org/officeDocument/2006/relationships/tags" Target="../tags/tag60.xml"/><Relationship Id="rId56" Type="http://schemas.openxmlformats.org/officeDocument/2006/relationships/tags" Target="../tags/tag68.xml"/><Relationship Id="rId64" Type="http://schemas.openxmlformats.org/officeDocument/2006/relationships/oleObject" Target="../embeddings/oleObject13.bin"/><Relationship Id="rId8" Type="http://schemas.openxmlformats.org/officeDocument/2006/relationships/tags" Target="../tags/tag20.xml"/><Relationship Id="rId51" Type="http://schemas.openxmlformats.org/officeDocument/2006/relationships/tags" Target="../tags/tag63.xml"/><Relationship Id="rId3" Type="http://schemas.openxmlformats.org/officeDocument/2006/relationships/tags" Target="../tags/tag15.xml"/><Relationship Id="rId12" Type="http://schemas.openxmlformats.org/officeDocument/2006/relationships/tags" Target="../tags/tag24.xml"/><Relationship Id="rId17" Type="http://schemas.openxmlformats.org/officeDocument/2006/relationships/tags" Target="../tags/tag29.xml"/><Relationship Id="rId25" Type="http://schemas.openxmlformats.org/officeDocument/2006/relationships/tags" Target="../tags/tag37.xml"/><Relationship Id="rId33" Type="http://schemas.openxmlformats.org/officeDocument/2006/relationships/tags" Target="../tags/tag45.xml"/><Relationship Id="rId38" Type="http://schemas.openxmlformats.org/officeDocument/2006/relationships/tags" Target="../tags/tag50.xml"/><Relationship Id="rId46" Type="http://schemas.openxmlformats.org/officeDocument/2006/relationships/tags" Target="../tags/tag58.xml"/><Relationship Id="rId59" Type="http://schemas.openxmlformats.org/officeDocument/2006/relationships/tags" Target="../tags/tag7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51A476C-085C-46BF-B9F3-2789CBE212F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243330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51A476C-085C-46BF-B9F3-2789CBE212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0D5A285A-CFC9-4D6F-8F8B-93387595CE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4400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38199" y="1122363"/>
            <a:ext cx="10322380" cy="2387600"/>
          </a:xfrm>
        </p:spPr>
        <p:txBody>
          <a:bodyPr vert="horz"/>
          <a:lstStyle/>
          <a:p>
            <a:r>
              <a:rPr lang="nb-NO" sz="4400" dirty="0"/>
              <a:t>Konjunkturseminar juni 2023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/>
              <a:t>Sjeføkonom Lars E Haartveit</a:t>
            </a:r>
          </a:p>
        </p:txBody>
      </p:sp>
    </p:spTree>
    <p:extLst>
      <p:ext uri="{BB962C8B-B14F-4D97-AF65-F5344CB8AC3E}">
        <p14:creationId xmlns:p14="http://schemas.microsoft.com/office/powerpoint/2010/main" val="9520192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6396F5B-8280-2A96-4FC8-B8516D1468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6396F5B-8280-2A96-4FC8-B8516D1468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5DDE0D41-A6C8-6B3B-5109-56880E56B8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80414" y="1125387"/>
            <a:ext cx="4911297" cy="4918476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oppen er trolig passert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dirty="0"/>
              <a:t>Men avstanden til inflasjonsmålene er stor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dirty="0"/>
              <a:t>Underliggende prisvekst ligger fortsatt høyt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dirty="0"/>
              <a:t>Prisveksten er bredt baser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Sentralbankene frykter at høy prisvekst skal «bite seg fast»</a:t>
            </a:r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0B9FE773-0EB7-EB2B-80C6-B4B6078602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Høy prisvekst trekker inn kjøpekraft</a:t>
            </a:r>
          </a:p>
        </p:txBody>
      </p:sp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A020A46F-3ADA-3847-2F90-3CC4BB3F246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928717076"/>
              </p:ext>
            </p:extLst>
          </p:nvPr>
        </p:nvGraphicFramePr>
        <p:xfrm>
          <a:off x="699886" y="1101634"/>
          <a:ext cx="5257800" cy="4918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5" imgW="12852887" imgH="8480421" progId="Mbnd.mbnd">
                  <p:embed/>
                </p:oleObj>
              </mc:Choice>
              <mc:Fallback>
                <p:oleObj name="Macrobond document" r:id="rId5" imgW="12852887" imgH="8480421" progId="Mbnd.mbnd">
                  <p:embed/>
                  <p:pic>
                    <p:nvPicPr>
                      <p:cNvPr id="3" name="Objekt 2">
                        <a:extLst>
                          <a:ext uri="{FF2B5EF4-FFF2-40B4-BE49-F238E27FC236}">
                            <a16:creationId xmlns:a16="http://schemas.microsoft.com/office/drawing/2014/main" id="{A020A46F-3ADA-3847-2F90-3CC4BB3F24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99886" y="1101634"/>
                        <a:ext cx="5257800" cy="4918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26968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9C902C5C-D839-B9CE-B6BB-307F00DFF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Veldig svak krone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9FDF820-0D9F-A3D5-9C17-A8164EF4C67D}"/>
              </a:ext>
            </a:extLst>
          </p:cNvPr>
          <p:cNvSpPr>
            <a:spLocks noGrp="1"/>
          </p:cNvSpPr>
          <p:nvPr>
            <p:ph sz="quarter" idx="17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6D7C1795-ED5B-49AD-E7AA-57B036168DCB}"/>
              </a:ext>
            </a:extLst>
          </p:cNvPr>
          <p:cNvSpPr>
            <a:spLocks noGrp="1"/>
          </p:cNvSpPr>
          <p:nvPr>
            <p:ph sz="quarter" idx="18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Selv om den er litt opp i det si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aler for høyere ren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i mener likevel det er grunn til å gå forsiktig frem: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dirty="0"/>
              <a:t>Virkningene av renteøkningene vi har bak oss er langt fra uttømt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dirty="0"/>
              <a:t>Ettersom tiden går, vil stadig flere av oss ha trukket ned «ekstrasparingen» fra pandemien</a:t>
            </a:r>
          </a:p>
        </p:txBody>
      </p:sp>
      <p:graphicFrame>
        <p:nvGraphicFramePr>
          <p:cNvPr id="5" name="Objekt 4">
            <a:extLst>
              <a:ext uri="{FF2B5EF4-FFF2-40B4-BE49-F238E27FC236}">
                <a16:creationId xmlns:a16="http://schemas.microsoft.com/office/drawing/2014/main" id="{79F4E761-E856-1F4C-F6AC-4C0F0BA76EA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91664795"/>
              </p:ext>
            </p:extLst>
          </p:nvPr>
        </p:nvGraphicFramePr>
        <p:xfrm>
          <a:off x="6267449" y="934368"/>
          <a:ext cx="5224463" cy="52070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2" imgW="11739203" imgH="7521087" progId="Mbnd.mbnd">
                  <p:embed/>
                </p:oleObj>
              </mc:Choice>
              <mc:Fallback>
                <p:oleObj name="Macrobond document" r:id="rId2" imgW="11739203" imgH="7521087" progId="Mbnd.mbnd">
                  <p:embed/>
                  <p:pic>
                    <p:nvPicPr>
                      <p:cNvPr id="5" name="Objekt 4">
                        <a:extLst>
                          <a:ext uri="{FF2B5EF4-FFF2-40B4-BE49-F238E27FC236}">
                            <a16:creationId xmlns:a16="http://schemas.microsoft.com/office/drawing/2014/main" id="{79F4E761-E856-1F4C-F6AC-4C0F0BA76E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"/>
                      <a:stretch>
                        <a:fillRect/>
                      </a:stretch>
                    </p:blipFill>
                    <p:spPr>
                      <a:xfrm>
                        <a:off x="6267449" y="934368"/>
                        <a:ext cx="5224463" cy="52070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197175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13738E59-F080-4DE8-86F8-4A3E61C6F2D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13738E59-F080-4DE8-86F8-4A3E61C6F2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60EF60D2-5231-411D-A183-242793ABBE6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00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E1AEE0BA-3153-7885-3FAB-51C589E7A49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145267" y="912485"/>
            <a:ext cx="4346444" cy="4721883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En del av pengene som samlet seg opp på konto under pandemien kommer godt med nå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ette er penger som «samlet seg opp» uten et eksplisitt spareønske/sparebehov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Hvor mye og hvor lenge vil bufferne fra pandemien understøtte forbruket?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nb-NO" sz="2000" dirty="0"/>
              <a:t>Pandemi-sparingen kommer godt med nå</a:t>
            </a:r>
          </a:p>
        </p:txBody>
      </p:sp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9CF7B13-977D-4551-9A34-4D18C236D93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585743624"/>
              </p:ext>
            </p:extLst>
          </p:nvPr>
        </p:nvGraphicFramePr>
        <p:xfrm>
          <a:off x="699886" y="912485"/>
          <a:ext cx="5550600" cy="472188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7" imgW="9968103" imgH="8480421" progId="Mbnd.mbnd">
                  <p:embed/>
                </p:oleObj>
              </mc:Choice>
              <mc:Fallback>
                <p:oleObj name="Macrobond document" r:id="rId7" imgW="9968103" imgH="8480421" progId="Mbnd.mbnd">
                  <p:embed/>
                  <p:pic>
                    <p:nvPicPr>
                      <p:cNvPr id="9" name="Objekt 8">
                        <a:extLst>
                          <a:ext uri="{FF2B5EF4-FFF2-40B4-BE49-F238E27FC236}">
                            <a16:creationId xmlns:a16="http://schemas.microsoft.com/office/drawing/2014/main" id="{59CF7B13-977D-4551-9A34-4D18C236D9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699886" y="912485"/>
                        <a:ext cx="5550600" cy="472188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79858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57EB77E-F63A-2F35-75A3-EFA94ADD75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01763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57EB77E-F63A-2F35-75A3-EFA94ADD75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DF53C19F-0CE1-A828-64AE-E7486686DC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614605" y="912485"/>
            <a:ext cx="3877106" cy="5131378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et er vanskelige avveininger sentralbankene står overf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i må et stykke tilbake i tid for å finne tilsvarende rentenivå som det vi er på vei mo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Og vi har langt mer gjeld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Vi tror rentene økes med et kvart prosentpoeng i mor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B977C944-2F17-55CD-74C5-2B1858180B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Rentebanen heves etter alt å dømme i morgen – men hvor mye?</a:t>
            </a:r>
          </a:p>
        </p:txBody>
      </p:sp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A129280-A52C-5EEA-9309-FBEA2C7A076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38966471"/>
              </p:ext>
            </p:extLst>
          </p:nvPr>
        </p:nvGraphicFramePr>
        <p:xfrm>
          <a:off x="699886" y="955171"/>
          <a:ext cx="6671958" cy="49476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5" imgW="10787084" imgH="7521087" progId="Mbnd.mbnd">
                  <p:embed/>
                </p:oleObj>
              </mc:Choice>
              <mc:Fallback>
                <p:oleObj name="Macrobond document" r:id="rId5" imgW="10787084" imgH="7521087" progId="Mbnd.mbnd">
                  <p:embed/>
                  <p:pic>
                    <p:nvPicPr>
                      <p:cNvPr id="4" name="Objekt 3">
                        <a:extLst>
                          <a:ext uri="{FF2B5EF4-FFF2-40B4-BE49-F238E27FC236}">
                            <a16:creationId xmlns:a16="http://schemas.microsoft.com/office/drawing/2014/main" id="{7A129280-A52C-5EEA-9309-FBEA2C7A07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99886" y="955171"/>
                        <a:ext cx="6671958" cy="49476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282255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0013A0DC-6029-4055-8860-A2D11EB01B7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2134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0013A0DC-6029-4055-8860-A2D11EB01B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tel 2">
            <a:extLst>
              <a:ext uri="{FF2B5EF4-FFF2-40B4-BE49-F238E27FC236}">
                <a16:creationId xmlns:a16="http://schemas.microsoft.com/office/drawing/2014/main" id="{C17F1C89-5659-419D-991D-582B96A54B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dirty="0"/>
              <a:t>Fortsatt normalisering av forbruksmønsteret </a:t>
            </a:r>
          </a:p>
        </p:txBody>
      </p:sp>
      <p:graphicFrame>
        <p:nvGraphicFramePr>
          <p:cNvPr id="5" name="Plassholder for innhold 4">
            <a:extLst>
              <a:ext uri="{FF2B5EF4-FFF2-40B4-BE49-F238E27FC236}">
                <a16:creationId xmlns:a16="http://schemas.microsoft.com/office/drawing/2014/main" id="{542BA8F8-37E8-48C3-B77B-0FDD6AB21C4B}"/>
              </a:ext>
            </a:extLst>
          </p:cNvPr>
          <p:cNvGraphicFramePr>
            <a:graphicFrameLocks noGrp="1" noChangeAspect="1"/>
          </p:cNvGraphicFramePr>
          <p:nvPr>
            <p:ph sz="quarter" idx="17"/>
            <p:extLst>
              <p:ext uri="{D42A27DB-BD31-4B8C-83A1-F6EECF244321}">
                <p14:modId xmlns:p14="http://schemas.microsoft.com/office/powerpoint/2010/main" val="873313613"/>
              </p:ext>
            </p:extLst>
          </p:nvPr>
        </p:nvGraphicFramePr>
        <p:xfrm>
          <a:off x="6629174" y="1134143"/>
          <a:ext cx="4768850" cy="492217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Macrobond document" r:id="rId5" imgW="11805772" imgH="8480421" progId="Mbnd.mbnd">
                  <p:embed/>
                </p:oleObj>
              </mc:Choice>
              <mc:Fallback>
                <p:oleObj name="Macrobond document" r:id="rId5" imgW="11805772" imgH="8480421" progId="Mbnd.mbnd">
                  <p:embed/>
                  <p:pic>
                    <p:nvPicPr>
                      <p:cNvPr id="5" name="Plassholder for innhold 4">
                        <a:extLst>
                          <a:ext uri="{FF2B5EF4-FFF2-40B4-BE49-F238E27FC236}">
                            <a16:creationId xmlns:a16="http://schemas.microsoft.com/office/drawing/2014/main" id="{542BA8F8-37E8-48C3-B77B-0FDD6AB21C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6629174" y="1134143"/>
                        <a:ext cx="4768850" cy="492217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F555FE0A-4FEF-141B-D18B-432DE74C7989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699886" y="1134143"/>
            <a:ext cx="5224463" cy="492217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Det høye bilsalget i forkant av økte avgifter fra årsskiftet trakk opp varekonsumet i 4. kvartal i fj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Når vi korrigerer for dette har balansen mellom varer, tjenester og forbruk i utlandet så å si normalisert se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Samlet sett har forbruket holdt seg bedre opp enn mange vente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Tjenesteforbruket målt i volum har ligget nokså flatt de siste månedene</a:t>
            </a:r>
          </a:p>
        </p:txBody>
      </p:sp>
      <p:sp>
        <p:nvSpPr>
          <p:cNvPr id="6" name="Plassholder for innhold 1">
            <a:extLst>
              <a:ext uri="{FF2B5EF4-FFF2-40B4-BE49-F238E27FC236}">
                <a16:creationId xmlns:a16="http://schemas.microsoft.com/office/drawing/2014/main" id="{AFD51891-073F-44C4-AC7A-82A8E3E83751}"/>
              </a:ext>
            </a:extLst>
          </p:cNvPr>
          <p:cNvSpPr txBox="1">
            <a:spLocks/>
          </p:cNvSpPr>
          <p:nvPr/>
        </p:nvSpPr>
        <p:spPr>
          <a:xfrm>
            <a:off x="699886" y="1134143"/>
            <a:ext cx="3424843" cy="105388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3121261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C439758C-AAEE-400E-B8A2-59BF12B887F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1422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4" imgW="353" imgH="353" progId="TCLayout.ActiveDocument.1">
                  <p:embed/>
                </p:oleObj>
              </mc:Choice>
              <mc:Fallback>
                <p:oleObj name="think-cell Slide" r:id="rId6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C439758C-AAEE-400E-B8A2-59BF12B887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08FEC0E4-FF1F-4DA2-A7F7-4CCA7706969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nb-NO" sz="2799" b="1" dirty="0">
              <a:latin typeface="Clan Pro" panose="02000803040000020004" pitchFamily="50" charset="0"/>
              <a:ea typeface="+mj-ea"/>
              <a:cs typeface="+mj-cs"/>
              <a:sym typeface="Clan Pro" panose="02000803040000020004" pitchFamily="50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47688" y="333378"/>
            <a:ext cx="10515600" cy="430980"/>
          </a:xfrm>
        </p:spPr>
        <p:txBody>
          <a:bodyPr vert="horz">
            <a:noAutofit/>
          </a:bodyPr>
          <a:lstStyle/>
          <a:p>
            <a:br>
              <a:rPr lang="nb-NO" sz="2000" dirty="0"/>
            </a:br>
            <a:r>
              <a:rPr lang="nb-NO" sz="2000" dirty="0"/>
              <a:t>Vi bruker litt mer penger enn i fjor, men vi får mindre igjen for dem</a:t>
            </a:r>
            <a:br>
              <a:rPr lang="nb-NO" sz="2000" dirty="0"/>
            </a:br>
            <a:endParaRPr lang="nb-NO" sz="2000" dirty="0"/>
          </a:p>
        </p:txBody>
      </p:sp>
      <p:sp>
        <p:nvSpPr>
          <p:cNvPr id="4" name="Plassholder for innhold 3">
            <a:extLst>
              <a:ext uri="{FF2B5EF4-FFF2-40B4-BE49-F238E27FC236}">
                <a16:creationId xmlns:a16="http://schemas.microsoft.com/office/drawing/2014/main" id="{B4C43C5F-DFD4-4CAE-AA3F-C2F86E71B4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53300" y="1296989"/>
            <a:ext cx="4000500" cy="4866446"/>
          </a:xfrm>
        </p:spPr>
        <p:txBody>
          <a:bodyPr>
            <a:normAutofit lnSpcReduction="1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Med våre anslag blir det volumnedgang i alle detaljhandelsbransjene i 2023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Økte renter og svak kjøpekraft rammer særlig kapitalvarebransje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Høy prisstigning bidrar til ny vekst for dagligvarebransjen målt i kron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dirty="0"/>
              <a:t>Stor usikkerhet</a:t>
            </a:r>
          </a:p>
          <a:p>
            <a:pPr marL="743018" lvl="1" indent="-285750">
              <a:buFont typeface="Arial" panose="020B0604020202020204" pitchFamily="34" charset="0"/>
              <a:buChar char="•"/>
            </a:pPr>
            <a:r>
              <a:rPr lang="nb-NO" dirty="0"/>
              <a:t>Ikke </a:t>
            </a:r>
            <a:r>
              <a:rPr lang="nb-NO" i="1" dirty="0"/>
              <a:t>bare</a:t>
            </a:r>
            <a:r>
              <a:rPr lang="nb-NO" dirty="0"/>
              <a:t> på nedsi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dirty="0"/>
          </a:p>
        </p:txBody>
      </p:sp>
      <p:cxnSp>
        <p:nvCxnSpPr>
          <p:cNvPr id="82" name="Rett linje 81">
            <a:extLst>
              <a:ext uri="{FF2B5EF4-FFF2-40B4-BE49-F238E27FC236}">
                <a16:creationId xmlns:a16="http://schemas.microsoft.com/office/drawing/2014/main" id="{B722F6D2-B9FE-197E-2F58-E7F3D7B4559A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>
            <a:off x="4421188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0" name="Rett linje 79">
            <a:extLst>
              <a:ext uri="{FF2B5EF4-FFF2-40B4-BE49-F238E27FC236}">
                <a16:creationId xmlns:a16="http://schemas.microsoft.com/office/drawing/2014/main" id="{971E8E80-4A7F-2554-B981-020B325D7E79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4156075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6" name="Rett linje 75">
            <a:extLst>
              <a:ext uri="{FF2B5EF4-FFF2-40B4-BE49-F238E27FC236}">
                <a16:creationId xmlns:a16="http://schemas.microsoft.com/office/drawing/2014/main" id="{43812725-292F-DB46-BF3E-5E54CAD6CCA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>
            <a:off x="3365500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7" name="Rett linje 136">
            <a:extLst>
              <a:ext uri="{FF2B5EF4-FFF2-40B4-BE49-F238E27FC236}">
                <a16:creationId xmlns:a16="http://schemas.microsoft.com/office/drawing/2014/main" id="{E5BD06DF-596D-2AA2-3C87-EA30470ECFCE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5805488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3" name="Rett linje 82">
            <a:extLst>
              <a:ext uri="{FF2B5EF4-FFF2-40B4-BE49-F238E27FC236}">
                <a16:creationId xmlns:a16="http://schemas.microsoft.com/office/drawing/2014/main" id="{834E0CE0-1718-C7B2-C3E0-90B723980A83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>
            <a:off x="4684713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" name="Rett linje 27">
            <a:extLst>
              <a:ext uri="{FF2B5EF4-FFF2-40B4-BE49-F238E27FC236}">
                <a16:creationId xmlns:a16="http://schemas.microsoft.com/office/drawing/2014/main" id="{61E1241C-DB41-CF07-B16B-6C61F2E451E9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>
            <a:off x="5211763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8" name="Rett linje 77">
            <a:extLst>
              <a:ext uri="{FF2B5EF4-FFF2-40B4-BE49-F238E27FC236}">
                <a16:creationId xmlns:a16="http://schemas.microsoft.com/office/drawing/2014/main" id="{03C665F4-D145-D788-69C1-3C7EBE5C1C1A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3892550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36" name="Rett linje 135">
            <a:extLst>
              <a:ext uri="{FF2B5EF4-FFF2-40B4-BE49-F238E27FC236}">
                <a16:creationId xmlns:a16="http://schemas.microsoft.com/office/drawing/2014/main" id="{18660C74-E684-59E5-F2B2-4AE5790711E6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948238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2" name="Rett linje 71">
            <a:extLst>
              <a:ext uri="{FF2B5EF4-FFF2-40B4-BE49-F238E27FC236}">
                <a16:creationId xmlns:a16="http://schemas.microsoft.com/office/drawing/2014/main" id="{3B50E700-4930-B6FF-A656-564F667C549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>
            <a:off x="2836863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Rett linje 73">
            <a:extLst>
              <a:ext uri="{FF2B5EF4-FFF2-40B4-BE49-F238E27FC236}">
                <a16:creationId xmlns:a16="http://schemas.microsoft.com/office/drawing/2014/main" id="{DFB5509F-74BB-4131-BA88-887367024951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3100388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4" name="Rett linje 83">
            <a:extLst>
              <a:ext uri="{FF2B5EF4-FFF2-40B4-BE49-F238E27FC236}">
                <a16:creationId xmlns:a16="http://schemas.microsoft.com/office/drawing/2014/main" id="{1E54F315-E278-F09F-FAFD-B622698CFB5A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5541963" y="1370012"/>
            <a:ext cx="0" cy="4268788"/>
          </a:xfrm>
          <a:prstGeom prst="line">
            <a:avLst/>
          </a:prstGeom>
          <a:ln w="31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4" name="Chart 3">
            <a:extLst>
              <a:ext uri="{FF2B5EF4-FFF2-40B4-BE49-F238E27FC236}">
                <a16:creationId xmlns:a16="http://schemas.microsoft.com/office/drawing/2014/main" id="{184E6EA9-C103-3DAF-C933-B782955A9871}"/>
              </a:ext>
            </a:extLst>
          </p:cNvPr>
          <p:cNvGraphicFramePr/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644308819"/>
              </p:ext>
            </p:extLst>
          </p:nvPr>
        </p:nvGraphicFramePr>
        <p:xfrm>
          <a:off x="2754313" y="1287463"/>
          <a:ext cx="3133725" cy="44338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6"/>
          </a:graphicData>
        </a:graphic>
      </p:graphicFrame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0910ACFC-006E-040A-4F4C-AD13FFCC9403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2752725" y="11366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56308FB-9A68-407F-8B69-33C86E9A3459}" type="datetime'''-''''''6''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6</a:t>
            </a:fld>
            <a:endParaRPr lang="nb-NO" sz="1200" b="1" dirty="0">
              <a:sym typeface="+mn-lt"/>
            </a:endParaRPr>
          </a:p>
        </p:txBody>
      </p:sp>
      <p:sp>
        <p:nvSpPr>
          <p:cNvPr id="62" name="Text Placeholder 2">
            <a:extLst>
              <a:ext uri="{FF2B5EF4-FFF2-40B4-BE49-F238E27FC236}">
                <a16:creationId xmlns:a16="http://schemas.microsoft.com/office/drawing/2014/main" id="{C8B4BA42-437E-FD2A-2794-05185A71B0B5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4370388" y="1136650"/>
            <a:ext cx="103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CD47DFFE-584C-46E3-8942-BDE6FE0885CE}" type="datetime'''''''''''''''6''''''''''''''''''''''''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nb-NO" sz="1200" b="1" dirty="0">
              <a:sym typeface="+mn-lt"/>
            </a:endParaRPr>
          </a:p>
        </p:txBody>
      </p:sp>
      <p:sp>
        <p:nvSpPr>
          <p:cNvPr id="64" name="Text Placeholder 2">
            <a:extLst>
              <a:ext uri="{FF2B5EF4-FFF2-40B4-BE49-F238E27FC236}">
                <a16:creationId xmlns:a16="http://schemas.microsoft.com/office/drawing/2014/main" id="{A66A7C55-2B3B-D22A-A25B-1FDCB2F2723E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4633913" y="1136650"/>
            <a:ext cx="103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EF641075-E8DA-4D43-A2BA-7725C0ED80E9}" type="datetime'''''''''''''''''''''''''''''''''8''''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nb-NO" sz="1200" b="1" dirty="0">
              <a:sym typeface="+mn-lt"/>
            </a:endParaRP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BB3714D-292C-416A-B0FC-0EA6700EBEDB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845050" y="1136650"/>
            <a:ext cx="2063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7D4C5B0-EF4B-418F-903C-FA9BF120FB40}" type="datetime'''''1''''''''''''''''''''''''''''''''''''''''0'">
              <a:rPr lang="nb-NO" altLang="en-US" sz="1200" b="1" smtClean="0"/>
              <a:pPr/>
              <a:t>10</a:t>
            </a:fld>
            <a:endParaRPr lang="nb-NO" sz="1200" b="1" dirty="0">
              <a:sym typeface="+mn-lt"/>
            </a:endParaRPr>
          </a:p>
        </p:txBody>
      </p:sp>
      <p:sp>
        <p:nvSpPr>
          <p:cNvPr id="57" name="Text Placeholder 2">
            <a:extLst>
              <a:ext uri="{FF2B5EF4-FFF2-40B4-BE49-F238E27FC236}">
                <a16:creationId xmlns:a16="http://schemas.microsoft.com/office/drawing/2014/main" id="{05B221C3-3185-AD46-1E36-42345C99C447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3016250" y="11366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880AAB7-6F44-487C-AB72-B00D28D98DDE}" type="datetime'-''''''''''''''''''''''''''''''''''''''''4''''''''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4</a:t>
            </a:fld>
            <a:endParaRPr lang="nb-NO" sz="1200" b="1" dirty="0">
              <a:sym typeface="+mn-lt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AFE84E88-9B3A-19A1-BC41-9161D3B253B9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5108575" y="1136650"/>
            <a:ext cx="2063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208B4D-4DB9-4C23-9FF3-D7CA9ADFD60D}" type="datetime'''''''''''''''''1''''''''''''''''''2''''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nb-NO" sz="1200" b="1" dirty="0">
              <a:sym typeface="+mn-lt"/>
            </a:endParaRP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AE9048C-AEFD-44CA-98DF-904FD13D1478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702300" y="1136650"/>
            <a:ext cx="2063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F542476-5F23-4776-B615-5654F5E4FBAF}" type="datetime'''''''''''''''''''''''''''20'''''''">
              <a:rPr lang="nb-NO" altLang="en-US" sz="1200" b="1" smtClean="0"/>
              <a:pPr/>
              <a:t>20</a:t>
            </a:fld>
            <a:endParaRPr lang="nb-NO" sz="1200" b="1" dirty="0">
              <a:sym typeface="+mn-lt"/>
            </a:endParaRPr>
          </a:p>
        </p:txBody>
      </p:sp>
      <p:sp>
        <p:nvSpPr>
          <p:cNvPr id="59" name="Text Placeholder 2">
            <a:extLst>
              <a:ext uri="{FF2B5EF4-FFF2-40B4-BE49-F238E27FC236}">
                <a16:creationId xmlns:a16="http://schemas.microsoft.com/office/drawing/2014/main" id="{6FC631A4-8446-1EC2-0D61-E90711B1A68A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3281363" y="1136650"/>
            <a:ext cx="1682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A8EC760-3249-4111-B7FB-E33E8887E260}" type="datetime'''''''''''''''''''''''''-''''''''''''''''''''''''''2''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-2</a:t>
            </a:fld>
            <a:endParaRPr lang="nb-NO" sz="1200" b="1" dirty="0">
              <a:sym typeface="+mn-lt"/>
            </a:endParaRPr>
          </a:p>
        </p:txBody>
      </p:sp>
      <p:sp>
        <p:nvSpPr>
          <p:cNvPr id="65" name="Text Placeholder 2">
            <a:extLst>
              <a:ext uri="{FF2B5EF4-FFF2-40B4-BE49-F238E27FC236}">
                <a16:creationId xmlns:a16="http://schemas.microsoft.com/office/drawing/2014/main" id="{46B8992A-8299-B2A8-2585-F88B79B61234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5438775" y="1136650"/>
            <a:ext cx="206375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4628B973-E427-40C7-AEAB-094D597773D9}" type="datetime'1''''''''''''''''''''''''''''''8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nb-NO" sz="1200" b="1" dirty="0">
              <a:sym typeface="+mn-lt"/>
            </a:endParaRP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D49D7B1D-153A-46F1-B5D4-F48C706F2597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3578225" y="1136650"/>
            <a:ext cx="1031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F87EEB5-89F8-49CB-B36F-4E7C4BEADE7E}" type="datetime'''''''''''''''''''''''''''''''''0'''">
              <a:rPr lang="nb-NO" altLang="en-US" sz="1200" b="1" smtClean="0"/>
              <a:pPr/>
              <a:t>0</a:t>
            </a:fld>
            <a:endParaRPr lang="nb-NO" sz="1200" b="1" dirty="0">
              <a:sym typeface="+mn-lt"/>
            </a:endParaRPr>
          </a:p>
        </p:txBody>
      </p:sp>
      <p:sp>
        <p:nvSpPr>
          <p:cNvPr id="60" name="Text Placeholder 2">
            <a:extLst>
              <a:ext uri="{FF2B5EF4-FFF2-40B4-BE49-F238E27FC236}">
                <a16:creationId xmlns:a16="http://schemas.microsoft.com/office/drawing/2014/main" id="{912EBD4F-004C-4EA0-C536-1B3D5F2ACDE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3841750" y="1136650"/>
            <a:ext cx="103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FB6C2CC-9528-4351-BA9C-5B0240A024A2}" type="datetime'''''2''''''''''''''''''''''''''''''''''''''''''''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nb-NO" sz="1200" b="1" dirty="0">
              <a:sym typeface="+mn-lt"/>
            </a:endParaRPr>
          </a:p>
        </p:txBody>
      </p:sp>
      <p:sp>
        <p:nvSpPr>
          <p:cNvPr id="61" name="Text Placeholder 2">
            <a:extLst>
              <a:ext uri="{FF2B5EF4-FFF2-40B4-BE49-F238E27FC236}">
                <a16:creationId xmlns:a16="http://schemas.microsoft.com/office/drawing/2014/main" id="{234498DD-954D-47BE-A2A2-DD5F7B7FEE0A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105275" y="1136650"/>
            <a:ext cx="103188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35DA59D-08BE-4EFA-828D-3F8BFE6B8761}" type="datetime'''''''''''''''''''''''''4'">
              <a:rPr lang="nb-NO" altLang="en-US" sz="1200" b="1" smtClean="0">
                <a:effectLst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13" name="Frihåndsform: figur 12">
            <a:extLst>
              <a:ext uri="{FF2B5EF4-FFF2-40B4-BE49-F238E27FC236}">
                <a16:creationId xmlns:a16="http://schemas.microsoft.com/office/drawing/2014/main" id="{97BFA27A-FFDC-0AE0-ACF8-1086B75C26A9}"/>
              </a:ext>
            </a:extLst>
          </p:cNvPr>
          <p:cNvSpPr/>
          <p:nvPr>
            <p:custDataLst>
              <p:tags r:id="rId27"/>
            </p:custDataLst>
          </p:nvPr>
        </p:nvSpPr>
        <p:spPr bwMode="auto">
          <a:xfrm>
            <a:off x="5326063" y="3995738"/>
            <a:ext cx="115888" cy="217488"/>
          </a:xfrm>
          <a:custGeom>
            <a:avLst/>
            <a:gdLst/>
            <a:ahLst/>
            <a:cxnLst/>
            <a:rect l="0" t="0" r="0" b="0"/>
            <a:pathLst>
              <a:path w="115888" h="217488">
                <a:moveTo>
                  <a:pt x="115887" y="0"/>
                </a:moveTo>
                <a:lnTo>
                  <a:pt x="57150" y="217487"/>
                </a:lnTo>
                <a:lnTo>
                  <a:pt x="0" y="217487"/>
                </a:lnTo>
                <a:lnTo>
                  <a:pt x="58737" y="0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1" name="Frihåndsform: figur 10">
            <a:extLst>
              <a:ext uri="{FF2B5EF4-FFF2-40B4-BE49-F238E27FC236}">
                <a16:creationId xmlns:a16="http://schemas.microsoft.com/office/drawing/2014/main" id="{6BF2BF4E-C4B5-DC8F-2624-F4598EC21F2A}"/>
              </a:ext>
            </a:extLst>
          </p:cNvPr>
          <p:cNvSpPr/>
          <p:nvPr>
            <p:custDataLst>
              <p:tags r:id="rId28"/>
            </p:custDataLst>
          </p:nvPr>
        </p:nvSpPr>
        <p:spPr bwMode="auto">
          <a:xfrm>
            <a:off x="5326063" y="3995738"/>
            <a:ext cx="58738" cy="217488"/>
          </a:xfrm>
          <a:custGeom>
            <a:avLst/>
            <a:gdLst/>
            <a:ahLst/>
            <a:cxnLst/>
            <a:rect l="0" t="0" r="0" b="0"/>
            <a:pathLst>
              <a:path w="58738" h="217488">
                <a:moveTo>
                  <a:pt x="58737" y="0"/>
                </a:moveTo>
                <a:lnTo>
                  <a:pt x="0" y="21748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Frihåndsform: figur 11">
            <a:extLst>
              <a:ext uri="{FF2B5EF4-FFF2-40B4-BE49-F238E27FC236}">
                <a16:creationId xmlns:a16="http://schemas.microsoft.com/office/drawing/2014/main" id="{55093D0E-110D-8704-B1C5-FDF2AC940CD8}"/>
              </a:ext>
            </a:extLst>
          </p:cNvPr>
          <p:cNvSpPr/>
          <p:nvPr>
            <p:custDataLst>
              <p:tags r:id="rId29"/>
            </p:custDataLst>
          </p:nvPr>
        </p:nvSpPr>
        <p:spPr bwMode="auto">
          <a:xfrm>
            <a:off x="5383213" y="3995738"/>
            <a:ext cx="58738" cy="217488"/>
          </a:xfrm>
          <a:custGeom>
            <a:avLst/>
            <a:gdLst/>
            <a:ahLst/>
            <a:cxnLst/>
            <a:rect l="0" t="0" r="0" b="0"/>
            <a:pathLst>
              <a:path w="58738" h="217488">
                <a:moveTo>
                  <a:pt x="58737" y="0"/>
                </a:moveTo>
                <a:lnTo>
                  <a:pt x="0" y="217487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04" name="Rett linje 103">
            <a:extLst>
              <a:ext uri="{FF2B5EF4-FFF2-40B4-BE49-F238E27FC236}">
                <a16:creationId xmlns:a16="http://schemas.microsoft.com/office/drawing/2014/main" id="{B3236DDC-0A05-67E4-F2B3-BC1FD4CC4B88}"/>
              </a:ext>
            </a:extLst>
          </p:cNvPr>
          <p:cNvCxnSpPr/>
          <p:nvPr>
            <p:custDataLst>
              <p:tags r:id="rId30"/>
            </p:custDataLst>
          </p:nvPr>
        </p:nvCxnSpPr>
        <p:spPr bwMode="auto">
          <a:xfrm>
            <a:off x="3603625" y="4760913"/>
            <a:ext cx="254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7" name="Rett linje 26">
            <a:extLst>
              <a:ext uri="{FF2B5EF4-FFF2-40B4-BE49-F238E27FC236}">
                <a16:creationId xmlns:a16="http://schemas.microsoft.com/office/drawing/2014/main" id="{33AD84FE-A04F-47D1-BF9D-0B775FC8CF7A}"/>
              </a:ext>
            </a:extLst>
          </p:cNvPr>
          <p:cNvCxnSpPr>
            <a:cxnSpLocks/>
          </p:cNvCxnSpPr>
          <p:nvPr>
            <p:custDataLst>
              <p:tags r:id="rId31"/>
            </p:custDataLst>
          </p:nvPr>
        </p:nvCxnSpPr>
        <p:spPr bwMode="auto">
          <a:xfrm>
            <a:off x="2943225" y="2390775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Rett linje 29">
            <a:extLst>
              <a:ext uri="{FF2B5EF4-FFF2-40B4-BE49-F238E27FC236}">
                <a16:creationId xmlns:a16="http://schemas.microsoft.com/office/drawing/2014/main" id="{1B969C0A-0F12-93E5-65E3-FE0B8A5B158E}"/>
              </a:ext>
            </a:extLst>
          </p:cNvPr>
          <p:cNvCxnSpPr/>
          <p:nvPr>
            <p:custDataLst>
              <p:tags r:id="rId32"/>
            </p:custDataLst>
          </p:nvPr>
        </p:nvCxnSpPr>
        <p:spPr bwMode="auto">
          <a:xfrm flipH="1">
            <a:off x="4211638" y="1955800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6" name="Rett linje 95">
            <a:extLst>
              <a:ext uri="{FF2B5EF4-FFF2-40B4-BE49-F238E27FC236}">
                <a16:creationId xmlns:a16="http://schemas.microsoft.com/office/drawing/2014/main" id="{3A580218-C36A-82E6-6341-C47A7B12F37C}"/>
              </a:ext>
            </a:extLst>
          </p:cNvPr>
          <p:cNvCxnSpPr/>
          <p:nvPr>
            <p:custDataLst>
              <p:tags r:id="rId33"/>
            </p:custDataLst>
          </p:nvPr>
        </p:nvCxnSpPr>
        <p:spPr bwMode="auto">
          <a:xfrm>
            <a:off x="3340100" y="4327525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85" name="Rett linje 84">
            <a:extLst>
              <a:ext uri="{FF2B5EF4-FFF2-40B4-BE49-F238E27FC236}">
                <a16:creationId xmlns:a16="http://schemas.microsoft.com/office/drawing/2014/main" id="{58C25968-D239-3437-1C87-524B60F308C1}"/>
              </a:ext>
            </a:extLst>
          </p:cNvPr>
          <p:cNvCxnSpPr/>
          <p:nvPr>
            <p:custDataLst>
              <p:tags r:id="rId34"/>
            </p:custDataLst>
          </p:nvPr>
        </p:nvCxnSpPr>
        <p:spPr bwMode="auto">
          <a:xfrm>
            <a:off x="3074988" y="3378200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Rett linje 152">
            <a:extLst>
              <a:ext uri="{FF2B5EF4-FFF2-40B4-BE49-F238E27FC236}">
                <a16:creationId xmlns:a16="http://schemas.microsoft.com/office/drawing/2014/main" id="{0C230261-2133-45FD-95C1-ACD8CE610795}"/>
              </a:ext>
            </a:extLst>
          </p:cNvPr>
          <p:cNvCxnSpPr>
            <a:cxnSpLocks/>
          </p:cNvCxnSpPr>
          <p:nvPr>
            <p:custDataLst>
              <p:tags r:id="rId35"/>
            </p:custDataLst>
          </p:nvPr>
        </p:nvCxnSpPr>
        <p:spPr bwMode="auto">
          <a:xfrm>
            <a:off x="3340100" y="3852863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47" name="Rett linje 146">
            <a:extLst>
              <a:ext uri="{FF2B5EF4-FFF2-40B4-BE49-F238E27FC236}">
                <a16:creationId xmlns:a16="http://schemas.microsoft.com/office/drawing/2014/main" id="{BDEA3543-D005-4E35-B9AB-288A1254EF07}"/>
              </a:ext>
            </a:extLst>
          </p:cNvPr>
          <p:cNvCxnSpPr>
            <a:cxnSpLocks/>
          </p:cNvCxnSpPr>
          <p:nvPr>
            <p:custDataLst>
              <p:tags r:id="rId36"/>
            </p:custDataLst>
          </p:nvPr>
        </p:nvCxnSpPr>
        <p:spPr bwMode="auto">
          <a:xfrm>
            <a:off x="3603625" y="2903538"/>
            <a:ext cx="90488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" name="Rett linje 18">
            <a:extLst>
              <a:ext uri="{FF2B5EF4-FFF2-40B4-BE49-F238E27FC236}">
                <a16:creationId xmlns:a16="http://schemas.microsoft.com/office/drawing/2014/main" id="{7FD1E19C-1EA8-D33B-9497-9C5FD580622B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 flipH="1">
            <a:off x="3948113" y="5275263"/>
            <a:ext cx="101600" cy="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F319131F-41AB-4007-8895-13012272DA6B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44488" y="2938463"/>
            <a:ext cx="935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E116904-A34C-4923-B4C4-91E0CCB79B12}" type="datetime'''''K''''''læ''r og'' s''''k''''''o'''''''''''''''''''''''">
              <a:rPr lang="nb-NO" altLang="en-US" sz="1200" b="1" smtClean="0"/>
              <a:pPr/>
              <a:t>Klær og sko</a:t>
            </a:fld>
            <a:endParaRPr lang="nb-NO" sz="1200" b="1" dirty="0">
              <a:sym typeface="+mn-lt"/>
            </a:endParaRPr>
          </a:p>
        </p:txBody>
      </p:sp>
      <p:sp>
        <p:nvSpPr>
          <p:cNvPr id="75" name="Text Placeholder 2">
            <a:extLst>
              <a:ext uri="{FF2B5EF4-FFF2-40B4-BE49-F238E27FC236}">
                <a16:creationId xmlns:a16="http://schemas.microsoft.com/office/drawing/2014/main" id="{A48728F8-B6E1-4479-932C-EC93EFE1EF49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44488" y="3887788"/>
            <a:ext cx="15763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D94135-2DF8-473A-B235-6C2C88B59F04}" type="datetime'''''''''Norsk''e'' ne''ttb''''''''''ut''i''''k''ke''''''''''r'">
              <a:rPr lang="nb-NO" altLang="en-US" sz="1200" b="1" smtClean="0"/>
              <a:pPr/>
              <a:t>Norske nettbutikker</a:t>
            </a:fld>
            <a:endParaRPr lang="nb-NO" sz="1200" b="1" dirty="0">
              <a:sym typeface="+mn-lt"/>
            </a:endParaRPr>
          </a:p>
        </p:txBody>
      </p:sp>
      <p:sp>
        <p:nvSpPr>
          <p:cNvPr id="77" name="Text Placeholder 2">
            <a:extLst>
              <a:ext uri="{FF2B5EF4-FFF2-40B4-BE49-F238E27FC236}">
                <a16:creationId xmlns:a16="http://schemas.microsoft.com/office/drawing/2014/main" id="{BADAC00B-87B4-456E-A05A-6793B19877CE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344487" y="4362450"/>
            <a:ext cx="5540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4075CF2-F3CA-467F-A087-5092E0318136}" type="datetime'''M''''''''''ø''''''''''''b''l''''''''e''''''''''''r'''''''''">
              <a:rPr lang="nb-NO" altLang="en-US" sz="1200" b="1" smtClean="0"/>
              <a:pPr/>
              <a:t>Møbler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66" name="Text Placeholder 2">
            <a:extLst>
              <a:ext uri="{FF2B5EF4-FFF2-40B4-BE49-F238E27FC236}">
                <a16:creationId xmlns:a16="http://schemas.microsoft.com/office/drawing/2014/main" id="{92AE0821-2D85-4C78-B462-B5C675F4161A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3343275" y="2813050"/>
            <a:ext cx="26035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BC19963-839C-4FA0-B14F-7D33E783527E}" type="datetime'''''''''''''''1''''''''''''''%'''''">
              <a:rPr lang="nb-NO" altLang="en-US" sz="1200" b="1" smtClean="0">
                <a:effectLst/>
              </a:rPr>
              <a:pPr/>
              <a:t>1%</a:t>
            </a:fld>
            <a:endParaRPr lang="nb-NO" sz="1200" b="1" dirty="0">
              <a:sym typeface="+mn-lt"/>
            </a:endParaRPr>
          </a:p>
        </p:txBody>
      </p:sp>
      <p:sp>
        <p:nvSpPr>
          <p:cNvPr id="98" name="Text Placeholder 2">
            <a:extLst>
              <a:ext uri="{FF2B5EF4-FFF2-40B4-BE49-F238E27FC236}">
                <a16:creationId xmlns:a16="http://schemas.microsoft.com/office/drawing/2014/main" id="{4FEE2872-22BA-49AF-A537-EA254A52D6A3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3630613" y="1390650"/>
            <a:ext cx="260350" cy="182563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85E85DC-F554-4CC6-8590-8586AC3779E2}" type="datetime'''2''''''''''''''''''''''''%'''''''''''''">
              <a:rPr lang="nb-NO" altLang="en-US" sz="1200" b="1" smtClean="0">
                <a:solidFill>
                  <a:schemeClr val="bg1"/>
                </a:solidFill>
                <a:effectLst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%</a:t>
            </a:fld>
            <a:endParaRPr lang="nb-NO" sz="1200" b="1" dirty="0">
              <a:solidFill>
                <a:schemeClr val="bg1"/>
              </a:solidFill>
              <a:sym typeface="+mn-lt"/>
            </a:endParaRPr>
          </a:p>
        </p:txBody>
      </p:sp>
      <p:sp useBgFill="1">
        <p:nvSpPr>
          <p:cNvPr id="143" name="Text Placeholder 2">
            <a:extLst>
              <a:ext uri="{FF2B5EF4-FFF2-40B4-BE49-F238E27FC236}">
                <a16:creationId xmlns:a16="http://schemas.microsoft.com/office/drawing/2014/main" id="{6BE6F3CB-E7B1-4611-B1F4-A6003FA0AC9C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3014663" y="3762375"/>
            <a:ext cx="3254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AFAEC6F-770E-4E4B-A9B3-570674D98343}" type="datetime'''''''''''''''''''''''''''''''''''-''2''''''%'''''''">
              <a:rPr lang="nb-NO" altLang="en-US" sz="1200" b="1" smtClean="0">
                <a:effectLst/>
              </a:rPr>
              <a:pPr/>
              <a:t>-2%</a:t>
            </a:fld>
            <a:endParaRPr lang="nb-NO" sz="1200" b="1" dirty="0">
              <a:sym typeface="+mn-lt"/>
            </a:endParaRP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1BBC011-615C-4871-B960-13A065085E34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344488" y="1516063"/>
            <a:ext cx="21526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F62A01A-A30D-4DEA-8BE8-64F0C068295D}" type="datetime'''''DET''''''''ALJ''HANDEL ''e''k''s''''''''kl''.'' m''''&amp;''b'">
              <a:rPr lang="nb-NO" altLang="en-US" sz="1200" b="1" smtClean="0"/>
              <a:pPr/>
              <a:t>DETALJHANDEL ekskl. m&amp;b</a:t>
            </a:fld>
            <a:endParaRPr lang="nb-NO" sz="1200" b="1" dirty="0">
              <a:sym typeface="+mn-lt"/>
            </a:endParaRPr>
          </a:p>
        </p:txBody>
      </p:sp>
      <p:sp>
        <p:nvSpPr>
          <p:cNvPr id="67" name="Text Placeholder 2">
            <a:extLst>
              <a:ext uri="{FF2B5EF4-FFF2-40B4-BE49-F238E27FC236}">
                <a16:creationId xmlns:a16="http://schemas.microsoft.com/office/drawing/2014/main" id="{AC78289E-6CDB-48BC-BF02-A04A5295E27A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344487" y="1990725"/>
            <a:ext cx="133508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5B9EEEE-272B-42A5-AC8B-595B0F504B74}" type="datetime'''''Dag''l''''i''''gvar''''''''''e''''/''k''i''''''''''osk'">
              <a:rPr lang="nb-NO" altLang="en-US" sz="1200" b="1" smtClean="0"/>
              <a:pPr/>
              <a:t>Dagligvare/kiosk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63" name="Text Placeholder 2">
            <a:extLst>
              <a:ext uri="{FF2B5EF4-FFF2-40B4-BE49-F238E27FC236}">
                <a16:creationId xmlns:a16="http://schemas.microsoft.com/office/drawing/2014/main" id="{9C0E5C0E-7628-4599-A6F6-D088EADB704A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4313237" y="1865313"/>
            <a:ext cx="26035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01E920E-63A0-4A12-8604-F9DE0FEC4E71}" type="datetime'''''''''''''''5''''''''''''''''''''''''%'">
              <a:rPr lang="nb-NO" altLang="en-US" sz="1200" b="1" smtClean="0">
                <a:effectLst/>
              </a:rPr>
              <a:pPr/>
              <a:t>5%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94" name="Text Placeholder 2">
            <a:extLst>
              <a:ext uri="{FF2B5EF4-FFF2-40B4-BE49-F238E27FC236}">
                <a16:creationId xmlns:a16="http://schemas.microsoft.com/office/drawing/2014/main" id="{262DC6E7-E48C-48A2-AAD7-7B26B2EC3083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2617788" y="2300288"/>
            <a:ext cx="3254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BBEC024-377E-4AA9-95E0-72B2FCE7328C}" type="datetime'''''''''''''''''''''''''''''-''''''''5''''''''''''''''''%'">
              <a:rPr lang="nb-NO" altLang="en-US" sz="1200" b="1" smtClean="0">
                <a:effectLst/>
              </a:rPr>
              <a:pPr/>
              <a:t>-5%</a:t>
            </a:fld>
            <a:endParaRPr lang="nb-NO" sz="1200" b="1" dirty="0">
              <a:sym typeface="+mn-lt"/>
            </a:endParaRPr>
          </a:p>
        </p:txBody>
      </p:sp>
      <p:sp>
        <p:nvSpPr>
          <p:cNvPr id="69" name="Text Placeholder 2">
            <a:extLst>
              <a:ext uri="{FF2B5EF4-FFF2-40B4-BE49-F238E27FC236}">
                <a16:creationId xmlns:a16="http://schemas.microsoft.com/office/drawing/2014/main" id="{98DDE55F-F16B-45B0-AAC1-7796B27E6FF1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344488" y="2465388"/>
            <a:ext cx="1654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3A90C71D-41B3-420E-8909-B3626EF2CCA7}" type="datetime'By''''g''gevar''ehus''''''''_p''r''i''''v''at'''''">
              <a:rPr lang="nb-NO" altLang="en-US" sz="1200" b="1" smtClean="0"/>
              <a:pPr/>
              <a:t>Byggevarehus_privat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176" name="Text Placeholder 2">
            <a:extLst>
              <a:ext uri="{FF2B5EF4-FFF2-40B4-BE49-F238E27FC236}">
                <a16:creationId xmlns:a16="http://schemas.microsoft.com/office/drawing/2014/main" id="{97E3FCA7-08F6-4C41-8064-C21079C04F9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2749550" y="3287713"/>
            <a:ext cx="3254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E21F9A8-5C10-4B97-AEDB-F42928E07418}" type="datetime'''''''''''''''''-''''''''''''''''''4''''''''''''''''''''''%'''">
              <a:rPr lang="nb-NO" altLang="en-US" sz="1200" b="1" smtClean="0">
                <a:effectLst/>
              </a:rPr>
              <a:pPr/>
              <a:t>-4%</a:t>
            </a:fld>
            <a:endParaRPr lang="nb-NO" sz="1200" b="1" dirty="0">
              <a:sym typeface="+mn-lt"/>
            </a:endParaRPr>
          </a:p>
        </p:txBody>
      </p:sp>
      <p:sp>
        <p:nvSpPr>
          <p:cNvPr id="73" name="Text Placeholder 2">
            <a:extLst>
              <a:ext uri="{FF2B5EF4-FFF2-40B4-BE49-F238E27FC236}">
                <a16:creationId xmlns:a16="http://schemas.microsoft.com/office/drawing/2014/main" id="{E094CA3B-C2CE-4C09-8C39-8DF4854B12D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344488" y="3413125"/>
            <a:ext cx="135890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8D12DD5-8596-446E-85F7-70A72E3562EE}" type="datetime'E''l''ektr''o'''','''' ''''r''''''a''''di''''o, T''V'''''''''">
              <a:rPr lang="nb-NO" altLang="en-US" sz="1200" b="1" smtClean="0"/>
              <a:pPr/>
              <a:t>Elektro, radio, TV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86" name="Text Placeholder 2">
            <a:extLst>
              <a:ext uri="{FF2B5EF4-FFF2-40B4-BE49-F238E27FC236}">
                <a16:creationId xmlns:a16="http://schemas.microsoft.com/office/drawing/2014/main" id="{AF743CA6-A5C3-4987-BA9D-05A528507784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3343274" y="4670425"/>
            <a:ext cx="26035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B425809-FD9E-4A26-9513-BAC7127993E4}" type="datetime'''0''''''''''''''''''''''''''%'''''''''''''''">
              <a:rPr lang="nb-NO" altLang="en-US" sz="1200" b="1" smtClean="0">
                <a:effectLst/>
              </a:rPr>
              <a:pPr/>
              <a:t>0%</a:t>
            </a:fld>
            <a:endParaRPr lang="nb-NO" sz="1200" b="1" dirty="0">
              <a:sym typeface="+mn-lt"/>
            </a:endParaRPr>
          </a:p>
        </p:txBody>
      </p:sp>
      <p:sp>
        <p:nvSpPr>
          <p:cNvPr id="79" name="Text Placeholder 2">
            <a:extLst>
              <a:ext uri="{FF2B5EF4-FFF2-40B4-BE49-F238E27FC236}">
                <a16:creationId xmlns:a16="http://schemas.microsoft.com/office/drawing/2014/main" id="{3F4C6ADD-C40C-46FF-B329-F1BFEF480AC2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344488" y="4835525"/>
            <a:ext cx="42386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C67C65F-F141-40A0-B5F7-09213D5B51FB}" type="datetime'''''Sp''''o''''''r''''''''''t'''''''''''''''''''''''''''">
              <a:rPr lang="nb-NO" altLang="en-US" sz="1200" b="1" smtClean="0"/>
              <a:pPr/>
              <a:t>Sport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87" name="Text Placeholder 2">
            <a:extLst>
              <a:ext uri="{FF2B5EF4-FFF2-40B4-BE49-F238E27FC236}">
                <a16:creationId xmlns:a16="http://schemas.microsoft.com/office/drawing/2014/main" id="{AF85F8D0-D11D-489D-9209-7EDAC76B79B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4049713" y="5184775"/>
            <a:ext cx="260350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8275ADC-D87B-4001-9D1E-7810A1A5B9FA}" type="datetime'''''''''''''''''''''''''''''''''''''''3''''%'''''''">
              <a:rPr lang="nb-NO" altLang="en-US" sz="1200" b="1" smtClean="0">
                <a:effectLst/>
              </a:rPr>
              <a:pPr/>
              <a:t>3%</a:t>
            </a:fld>
            <a:endParaRPr lang="nb-NO" sz="1200" b="1" dirty="0">
              <a:sym typeface="+mn-lt"/>
            </a:endParaRPr>
          </a:p>
        </p:txBody>
      </p:sp>
      <p:sp>
        <p:nvSpPr>
          <p:cNvPr id="81" name="Text Placeholder 2">
            <a:extLst>
              <a:ext uri="{FF2B5EF4-FFF2-40B4-BE49-F238E27FC236}">
                <a16:creationId xmlns:a16="http://schemas.microsoft.com/office/drawing/2014/main" id="{9C1E1728-5A15-4135-B0A9-5A5643DD3FCE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344488" y="5310188"/>
            <a:ext cx="1455738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2542F32E-4196-41F2-AC73-C20D48D501DD}" type="datetime'B''''''''''re''dt ''utval''g'''' e''ll''''''''e''''''rs'''''">
              <a:rPr lang="nb-NO" altLang="en-US" sz="1200" b="1" smtClean="0"/>
              <a:pPr/>
              <a:t>Bredt utvalg ellers</a:t>
            </a:fld>
            <a:endParaRPr lang="nb-NO" sz="1200" b="1" dirty="0">
              <a:sym typeface="+mn-lt"/>
            </a:endParaRPr>
          </a:p>
        </p:txBody>
      </p:sp>
      <p:sp useBgFill="1">
        <p:nvSpPr>
          <p:cNvPr id="70" name="Text Placeholder 2">
            <a:extLst>
              <a:ext uri="{FF2B5EF4-FFF2-40B4-BE49-F238E27FC236}">
                <a16:creationId xmlns:a16="http://schemas.microsoft.com/office/drawing/2014/main" id="{27F9102F-ACF5-4172-96C8-EB7621BFDFD2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014663" y="4237038"/>
            <a:ext cx="325438" cy="182563"/>
          </a:xfrm>
          <a:prstGeom prst="rect">
            <a:avLst/>
          </a:prstGeom>
          <a:ln>
            <a:noFill/>
          </a:ln>
          <a:effectLst/>
        </p:spPr>
        <p:txBody>
          <a:bodyPr vert="horz" wrap="none" lIns="22225" tIns="0" rIns="22225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7B94F70-A595-4297-8370-B15F46A22698}" type="datetime'''-''2''%'''''''''''''''''''''''''''''''''''''''''''''''''''">
              <a:rPr lang="nb-NO" altLang="en-US" sz="1200" b="1" smtClean="0">
                <a:effectLst/>
              </a:rPr>
              <a:pPr/>
              <a:t>-2%</a:t>
            </a:fld>
            <a:endParaRPr lang="nb-NO" sz="1200" b="1" dirty="0">
              <a:sym typeface="+mn-lt"/>
            </a:endParaRPr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7A4264F9-E6CB-401D-809F-86DD420D084B}"/>
              </a:ext>
            </a:extLst>
          </p:cNvPr>
          <p:cNvSpPr/>
          <p:nvPr>
            <p:custDataLst>
              <p:tags r:id="rId56"/>
            </p:custDataLst>
          </p:nvPr>
        </p:nvSpPr>
        <p:spPr bwMode="auto">
          <a:xfrm>
            <a:off x="3775075" y="6375400"/>
            <a:ext cx="214313" cy="160338"/>
          </a:xfrm>
          <a:prstGeom prst="rect">
            <a:avLst/>
          </a:prstGeom>
          <a:solidFill>
            <a:schemeClr val="accent6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8" name="Rektangel 37">
            <a:extLst>
              <a:ext uri="{FF2B5EF4-FFF2-40B4-BE49-F238E27FC236}">
                <a16:creationId xmlns:a16="http://schemas.microsoft.com/office/drawing/2014/main" id="{49989295-C56D-4751-94DB-0B8DD7C95CBA}"/>
              </a:ext>
            </a:extLst>
          </p:cNvPr>
          <p:cNvSpPr/>
          <p:nvPr>
            <p:custDataLst>
              <p:tags r:id="rId57"/>
            </p:custDataLst>
          </p:nvPr>
        </p:nvSpPr>
        <p:spPr bwMode="auto">
          <a:xfrm>
            <a:off x="2897188" y="6608763"/>
            <a:ext cx="214313" cy="160338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7" name="Rektangel 36">
            <a:extLst>
              <a:ext uri="{FF2B5EF4-FFF2-40B4-BE49-F238E27FC236}">
                <a16:creationId xmlns:a16="http://schemas.microsoft.com/office/drawing/2014/main" id="{D08D2108-23D2-4EC5-80E2-B52118866246}"/>
              </a:ext>
            </a:extLst>
          </p:cNvPr>
          <p:cNvSpPr/>
          <p:nvPr>
            <p:custDataLst>
              <p:tags r:id="rId58"/>
            </p:custDataLst>
          </p:nvPr>
        </p:nvSpPr>
        <p:spPr bwMode="auto">
          <a:xfrm>
            <a:off x="2897188" y="6375400"/>
            <a:ext cx="214313" cy="160338"/>
          </a:xfrm>
          <a:prstGeom prst="rect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AFE8DCC8-4341-416C-84D3-B6CADBDC34F5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3162300" y="6370638"/>
            <a:ext cx="511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7F50A903-046F-49C7-B460-C3D4AB0130AF}" type="datetime'''''''2''''''''''''''''''0''''''2''''''''''''''''3''''E'">
              <a:rPr lang="nb-NO" altLang="en-US" sz="1200" b="1" smtClean="0"/>
              <a:pPr/>
              <a:t>2023E</a:t>
            </a:fld>
            <a:endParaRPr lang="nb-NO" sz="1200" b="1" dirty="0">
              <a:sym typeface="+mn-lt"/>
            </a:endParaRP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5E9C3271-380F-493A-BC70-9F8A91F247B4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4040188" y="6370638"/>
            <a:ext cx="412750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962724F-1B50-48E8-AB4C-436CA9C76358}" type="datetime'''''''''''''''''''''''''''''''''''''''2''''''0''''''''2''1'''">
              <a:rPr lang="nb-NO" altLang="en-US" sz="1200" b="1" smtClean="0"/>
              <a:pPr/>
              <a:t>2021</a:t>
            </a:fld>
            <a:endParaRPr lang="nb-NO" sz="1200" b="1" dirty="0">
              <a:sym typeface="+mn-lt"/>
            </a:endParaRP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A840524E-58FA-4F72-A2FD-D6CFD4E42DB2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162300" y="6604000"/>
            <a:ext cx="5111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SzPct val="100000"/>
              <a:buFont typeface="Symbol" panose="05050102010706020507" pitchFamily="18" charset="2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68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903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536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170" indent="-180000" algn="l" defTabSz="914537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accent1"/>
              </a:buClr>
              <a:buFont typeface="Symbol" panose="05050102010706020507" pitchFamily="18" charset="2"/>
              <a:buChar char=""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977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2245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514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783" indent="-228634" algn="l" defTabSz="91453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E9AB3E5A-43B8-48D2-919D-89E682CDF99F}" type="datetime'''''2''''0''''''''2''''2''''''''''''''''''''''''''''''''E'''">
              <a:rPr lang="nb-NO" altLang="en-US" sz="1200" b="1" smtClean="0"/>
              <a:pPr/>
              <a:t>2022E</a:t>
            </a:fld>
            <a:endParaRPr lang="nb-NO" sz="1200" b="1" dirty="0"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083810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3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zIaiy4MsiscyIF1gdC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gwv_LZsfAFuAtgYyQ4w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ZLQKNHLt9nu37P13AKR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9kg6V03HzBVQNpLLVj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l3x8kqhU_OgU_zs1cKE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TxRSlvqh.yUIoF0nOBV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mFqJU3hXas.zU0h2Bp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bHuY6u1euL7pIBW.zGie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eDTxEGmTgfskxNMqcko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qTI7N3k0fauxpDs80pY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2Livs0v_LdmR2HMviWa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fTwghriCgdhAZJ_JHu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ISjuBpUKUbUmOw4um5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IpM0HEE9iEmU_GbC65H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q4theeL.paRtAgR9iSg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wHS2MB5fx5tY8wMoWCCl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O0ssTuMVHZ0NN2CE31iH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cMim_NqN_J4ijGQ3V7i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_7gorSRtJPFK_VQmQoC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uRMx8jY2.Jcx0zF7YA66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9eZ45i5loDZkm.JZh1f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Mr1quFjvJ4AT4QdZa58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KACOg_49xn.kGHQjd00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NLIJw9gO9trUpA7U1vJ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FfSVBXDIyRfWa8Cjio0V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uJU8IJa1zoihKfSxZH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Jip90bSKk23rBdNQg3O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5AGDKRp1j6Ej_EIafm2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uCtNLzw3JJxn2uk.aVs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5w1.5vcc0vOIUG.5hZ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.fPD_8E23wt7vr.vmPLR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VQ4j_UnCoo02mkakgIzV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p4LNxEGhBjzbhc2jfne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T_8teZK5x5MPxUJF8Z_R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UNXvpH0IboYZK85UELN0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l_hlTVIUxQs58ZusUDn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JggIzzaSM2pT2c8trPm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IjOIErwNeo3GWOxB6S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mNX_HnF33K6VThkiH.S4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N.WO0yfcR9RiTKHnzd0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z86AmD6KIF_Oo3vuZYY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dtcgOjDZpSTQkEB9MG.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F_sZaT5A58YEDnBVPXk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Gmixjy9GX_wZjjdiXeN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aNoRRBb1u5KhG2c3I8OX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0ykho.rdyLMR.4AbI6J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7nTm4rZ2sTSzd4Svmkq1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WprBJODzaPhpD6mUAyQ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OyrdWoDsO4MYkq.qDWA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PrQ_Sye3pl8DUEAuAM9s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cMowSZLNmSnuzqxk_6q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9YouDXB_.IgkePXKTJM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YPJEFP7wNoE3uQ6ycGX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LN8raSiuW_fyGg7xypj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vVi1r9ypz6GWnIybFQxS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OiBjf2YEtwzhGJvL68Kw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ARY0lOHv4lATFIepj5j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otvz7XaVrYYVJ3Jke4c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jb_Z6Mc2H5TJ7I2v0DY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zr_NR7ozIdfhcISOvkU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PE78aZuKKL_2UtsPIZO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xuyPDtcDxITPqPMUd6j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IFr9QS2Nfi6BqwAD3hui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Re.g_A5BiiMiFsmQ9oYq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Virke Hovedmal og salgspresentasjon">
  <a:themeElements>
    <a:clrScheme name="Custom 7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9007F"/>
      </a:accent1>
      <a:accent2>
        <a:srgbClr val="F57F00"/>
      </a:accent2>
      <a:accent3>
        <a:srgbClr val="3D357D"/>
      </a:accent3>
      <a:accent4>
        <a:srgbClr val="00544F"/>
      </a:accent4>
      <a:accent5>
        <a:srgbClr val="FFEFC3"/>
      </a:accent5>
      <a:accent6>
        <a:srgbClr val="B8DED7"/>
      </a:accent6>
      <a:hlink>
        <a:srgbClr val="0563C1"/>
      </a:hlink>
      <a:folHlink>
        <a:srgbClr val="954F72"/>
      </a:folHlink>
    </a:clrScheme>
    <a:fontScheme name="Egendefinert 16">
      <a:majorFont>
        <a:latin typeface="Clan Pro"/>
        <a:ea typeface=""/>
        <a:cs typeface=""/>
      </a:majorFont>
      <a:minorFont>
        <a:latin typeface="Clan Pro New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Virke_ppt_Hovedmal_2020_2704-6" id="{A5F5C0A5-0CFF-476D-90BB-AAC721D99DE2}" vid="{C11E8846-9ECE-4D7D-BB88-9A25EBA366FB}"/>
    </a:ext>
  </a:extLst>
</a:theme>
</file>

<file path=ppt/theme/theme2.xml><?xml version="1.0" encoding="utf-8"?>
<a:theme xmlns:a="http://schemas.openxmlformats.org/drawingml/2006/main" name="Virke Rapport">
  <a:themeElements>
    <a:clrScheme name="Custom 7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C9007F"/>
      </a:accent1>
      <a:accent2>
        <a:srgbClr val="F57F00"/>
      </a:accent2>
      <a:accent3>
        <a:srgbClr val="3D357D"/>
      </a:accent3>
      <a:accent4>
        <a:srgbClr val="00544F"/>
      </a:accent4>
      <a:accent5>
        <a:srgbClr val="FFEFC3"/>
      </a:accent5>
      <a:accent6>
        <a:srgbClr val="B8DED7"/>
      </a:accent6>
      <a:hlink>
        <a:srgbClr val="0563C1"/>
      </a:hlink>
      <a:folHlink>
        <a:srgbClr val="954F72"/>
      </a:folHlink>
    </a:clrScheme>
    <a:fontScheme name="Egendefinert 15">
      <a:majorFont>
        <a:latin typeface="Clan Pro"/>
        <a:ea typeface=""/>
        <a:cs typeface=""/>
      </a:majorFont>
      <a:minorFont>
        <a:latin typeface="Clan Pro News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Virke_ppt_Hovedmal_2020_2704-6" id="{A5F5C0A5-0CFF-476D-90BB-AAC721D99DE2}" vid="{2E5C4EEB-D35B-4120-9971-A40D25E7F79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Rosa">
      <a:srgbClr val="F9CFE3"/>
    </a:custClr>
    <a:custClr name="Rosa lysere">
      <a:srgbClr val="FCE7F1"/>
    </a:custClr>
    <a:custClr name="Grønn lysere">
      <a:srgbClr val="DBEEEB"/>
    </a:custClr>
    <a:custClr name="Gul lysere">
      <a:srgbClr val="FFF7E1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145D2BE51D2514CB085A093CE1A674F" ma:contentTypeVersion="11" ma:contentTypeDescription="Create a new document." ma:contentTypeScope="" ma:versionID="b6681d331edcb1ba7391c8f813948684">
  <xsd:schema xmlns:xsd="http://www.w3.org/2001/XMLSchema" xmlns:xs="http://www.w3.org/2001/XMLSchema" xmlns:p="http://schemas.microsoft.com/office/2006/metadata/properties" xmlns:ns3="0b1c1214-4adb-4783-8327-73cd5d980b85" xmlns:ns4="fd5b8e8d-eb8d-4136-9519-38cadb217457" targetNamespace="http://schemas.microsoft.com/office/2006/metadata/properties" ma:root="true" ma:fieldsID="3f53d58113495f96c3966f19a7e9da3b" ns3:_="" ns4:_="">
    <xsd:import namespace="0b1c1214-4adb-4783-8327-73cd5d980b85"/>
    <xsd:import namespace="fd5b8e8d-eb8d-4136-9519-38cadb217457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b1c1214-4adb-4783-8327-73cd5d980b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5b8e8d-eb8d-4136-9519-38cadb217457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F04ABC8-B7B6-4EFD-9E51-7C4F4966748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548B3B4-6402-4B59-A105-9AA53B33C66C}">
  <ds:schemaRefs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fd5b8e8d-eb8d-4136-9519-38cadb217457"/>
    <ds:schemaRef ds:uri="0b1c1214-4adb-4783-8327-73cd5d980b85"/>
    <ds:schemaRef ds:uri="http://purl.org/dc/terms/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A05F4405-C5BE-47FB-82FA-6782F1E7424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b1c1214-4adb-4783-8327-73cd5d980b85"/>
    <ds:schemaRef ds:uri="fd5b8e8d-eb8d-4136-9519-38cadb21745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989</TotalTime>
  <Words>355</Words>
  <Application>Microsoft Office PowerPoint</Application>
  <PresentationFormat>Widescreen</PresentationFormat>
  <Paragraphs>90</Paragraphs>
  <Slides>7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2</vt:i4>
      </vt:variant>
      <vt:variant>
        <vt:lpstr>Lysbildetitler</vt:lpstr>
      </vt:variant>
      <vt:variant>
        <vt:i4>7</vt:i4>
      </vt:variant>
    </vt:vector>
  </HeadingPairs>
  <TitlesOfParts>
    <vt:vector size="17" baseType="lpstr">
      <vt:lpstr>Arial</vt:lpstr>
      <vt:lpstr>Calibri</vt:lpstr>
      <vt:lpstr>Clan Pro</vt:lpstr>
      <vt:lpstr>Clan Pro News</vt:lpstr>
      <vt:lpstr>ClanOT-News</vt:lpstr>
      <vt:lpstr>Symbol</vt:lpstr>
      <vt:lpstr>Virke Hovedmal og salgspresentasjon</vt:lpstr>
      <vt:lpstr>Virke Rapport</vt:lpstr>
      <vt:lpstr>think-cell Slide</vt:lpstr>
      <vt:lpstr>Macrobond document</vt:lpstr>
      <vt:lpstr>Konjunkturseminar juni 2023</vt:lpstr>
      <vt:lpstr>Høy prisvekst trekker inn kjøpekraft</vt:lpstr>
      <vt:lpstr>Veldig svak krone</vt:lpstr>
      <vt:lpstr>Pandemi-sparingen kommer godt med nå</vt:lpstr>
      <vt:lpstr>Rentebanen heves etter alt å dømme i morgen – men hvor mye?</vt:lpstr>
      <vt:lpstr>Fortsatt normalisering av forbruksmønsteret </vt:lpstr>
      <vt:lpstr> Vi bruker litt mer penger enn i fjor, men vi får mindre igjen for dem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truks – slettes</dc:title>
  <dc:creator>Anders Stien Rikstad</dc:creator>
  <cp:lastModifiedBy>Lars Eivind Haartveit</cp:lastModifiedBy>
  <cp:revision>254</cp:revision>
  <cp:lastPrinted>2023-06-20T08:35:58Z</cp:lastPrinted>
  <dcterms:created xsi:type="dcterms:W3CDTF">2020-06-16T11:03:44Z</dcterms:created>
  <dcterms:modified xsi:type="dcterms:W3CDTF">2023-06-20T09:14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145D2BE51D2514CB085A093CE1A674F</vt:lpwstr>
  </property>
</Properties>
</file>